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notesSlides/notesSlide13.xml" ContentType="application/vnd.openxmlformats-officedocument.presentationml.notesSlide+xml"/>
  <Override PartName="/ppt/tags/tag28.xml" ContentType="application/vnd.openxmlformats-officedocument.presentationml.tags+xml"/>
  <Override PartName="/ppt/notesSlides/notesSlide14.xml" ContentType="application/vnd.openxmlformats-officedocument.presentationml.notesSlide+xml"/>
  <Override PartName="/ppt/tags/tag29.xml" ContentType="application/vnd.openxmlformats-officedocument.presentationml.tags+xml"/>
  <Override PartName="/ppt/notesSlides/notesSlide15.xml" ContentType="application/vnd.openxmlformats-officedocument.presentationml.notesSlide+xml"/>
  <Override PartName="/ppt/tags/tag30.xml" ContentType="application/vnd.openxmlformats-officedocument.presentationml.tags+xml"/>
  <Override PartName="/ppt/notesSlides/notesSlide16.xml" ContentType="application/vnd.openxmlformats-officedocument.presentationml.notesSlide+xml"/>
  <Override PartName="/ppt/tags/tag31.xml" ContentType="application/vnd.openxmlformats-officedocument.presentationml.tags+xml"/>
  <Override PartName="/ppt/notesSlides/notesSlide17.xml" ContentType="application/vnd.openxmlformats-officedocument.presentationml.notesSlide+xml"/>
  <Override PartName="/ppt/tags/tag32.xml" ContentType="application/vnd.openxmlformats-officedocument.presentationml.tags+xml"/>
  <Override PartName="/ppt/notesSlides/notesSlide18.xml" ContentType="application/vnd.openxmlformats-officedocument.presentationml.notesSlide+xml"/>
  <Override PartName="/ppt/tags/tag33.xml" ContentType="application/vnd.openxmlformats-officedocument.presentationml.tags+xml"/>
  <Override PartName="/ppt/notesSlides/notesSlide19.xml" ContentType="application/vnd.openxmlformats-officedocument.presentationml.notesSlide+xml"/>
  <Override PartName="/ppt/tags/tag34.xml" ContentType="application/vnd.openxmlformats-officedocument.presentationml.tags+xml"/>
  <Override PartName="/ppt/notesSlides/notesSlide20.xml" ContentType="application/vnd.openxmlformats-officedocument.presentationml.notesSlide+xml"/>
  <Override PartName="/ppt/tags/tag35.xml" ContentType="application/vnd.openxmlformats-officedocument.presentationml.tags+xml"/>
  <Override PartName="/ppt/notesSlides/notesSlide2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6.xml" ContentType="application/vnd.openxmlformats-officedocument.presentationml.tags+xml"/>
  <Override PartName="/ppt/notesSlides/notesSlide22.xml" ContentType="application/vnd.openxmlformats-officedocument.presentationml.notesSlide+xml"/>
  <Override PartName="/ppt/tags/tag37.xml" ContentType="application/vnd.openxmlformats-officedocument.presentationml.tags+xml"/>
  <Override PartName="/ppt/notesSlides/notesSlide23.xml" ContentType="application/vnd.openxmlformats-officedocument.presentationml.notesSlide+xml"/>
  <Override PartName="/ppt/tags/tag38.xml" ContentType="application/vnd.openxmlformats-officedocument.presentationml.tags+xml"/>
  <Override PartName="/ppt/notesSlides/notesSlide24.xml" ContentType="application/vnd.openxmlformats-officedocument.presentationml.notesSlide+xml"/>
  <Override PartName="/ppt/tags/tag39.xml" ContentType="application/vnd.openxmlformats-officedocument.presentationml.tags+xml"/>
  <Override PartName="/ppt/notesSlides/notesSlide25.xml" ContentType="application/vnd.openxmlformats-officedocument.presentationml.notesSlide+xml"/>
  <Override PartName="/ppt/tags/tag40.xml" ContentType="application/vnd.openxmlformats-officedocument.presentationml.tags+xml"/>
  <Override PartName="/ppt/notesSlides/notesSlide26.xml" ContentType="application/vnd.openxmlformats-officedocument.presentationml.notesSlide+xml"/>
  <Override PartName="/ppt/tags/tag41.xml" ContentType="application/vnd.openxmlformats-officedocument.presentationml.tags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4101" r:id="rId1"/>
    <p:sldMasterId id="2147484103" r:id="rId2"/>
    <p:sldMasterId id="2147484102" r:id="rId3"/>
    <p:sldMasterId id="2147484104" r:id="rId4"/>
  </p:sldMasterIdLst>
  <p:notesMasterIdLst>
    <p:notesMasterId r:id="rId32"/>
  </p:notesMasterIdLst>
  <p:handoutMasterIdLst>
    <p:handoutMasterId r:id="rId33"/>
  </p:handoutMasterIdLst>
  <p:sldIdLst>
    <p:sldId id="470" r:id="rId5"/>
    <p:sldId id="524" r:id="rId6"/>
    <p:sldId id="530" r:id="rId7"/>
    <p:sldId id="531" r:id="rId8"/>
    <p:sldId id="532" r:id="rId9"/>
    <p:sldId id="533" r:id="rId10"/>
    <p:sldId id="534" r:id="rId11"/>
    <p:sldId id="535" r:id="rId12"/>
    <p:sldId id="536" r:id="rId13"/>
    <p:sldId id="538" r:id="rId14"/>
    <p:sldId id="537" r:id="rId15"/>
    <p:sldId id="550" r:id="rId16"/>
    <p:sldId id="549" r:id="rId17"/>
    <p:sldId id="551" r:id="rId18"/>
    <p:sldId id="552" r:id="rId19"/>
    <p:sldId id="553" r:id="rId20"/>
    <p:sldId id="554" r:id="rId21"/>
    <p:sldId id="540" r:id="rId22"/>
    <p:sldId id="541" r:id="rId23"/>
    <p:sldId id="542" r:id="rId24"/>
    <p:sldId id="543" r:id="rId25"/>
    <p:sldId id="544" r:id="rId26"/>
    <p:sldId id="548" r:id="rId27"/>
    <p:sldId id="546" r:id="rId28"/>
    <p:sldId id="545" r:id="rId29"/>
    <p:sldId id="547" r:id="rId30"/>
    <p:sldId id="444" r:id="rId31"/>
  </p:sldIdLst>
  <p:sldSz cx="8961438" cy="6721475"/>
  <p:notesSz cx="6743700" cy="9906000"/>
  <p:custDataLst>
    <p:tags r:id="rId3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5pPr>
    <a:lvl6pPr marL="22860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6pPr>
    <a:lvl7pPr marL="27432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7pPr>
    <a:lvl8pPr marL="32004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8pPr>
    <a:lvl9pPr marL="36576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 pos="56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AB076"/>
    <a:srgbClr val="00AB72"/>
    <a:srgbClr val="5D727C"/>
    <a:srgbClr val="A5E2CE"/>
    <a:srgbClr val="33CC33"/>
    <a:srgbClr val="CCEFE3"/>
    <a:srgbClr val="666699"/>
    <a:srgbClr val="B83A08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13" autoAdjust="0"/>
    <p:restoredTop sz="94906" autoAdjust="0"/>
  </p:normalViewPr>
  <p:slideViewPr>
    <p:cSldViewPr snapToGrid="0" snapToObjects="1">
      <p:cViewPr varScale="1">
        <p:scale>
          <a:sx n="94" d="100"/>
          <a:sy n="94" d="100"/>
        </p:scale>
        <p:origin x="1596" y="84"/>
      </p:cViewPr>
      <p:guideLst>
        <p:guide orient="horz" pos="4233"/>
        <p:guide pos="56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-3546" y="-78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4B3462A-5230-4D3C-B1A8-F33CAD980E40}" type="doc">
      <dgm:prSet loTypeId="urn:microsoft.com/office/officeart/2005/8/layout/venn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D6384B5-A1BD-435B-8DD7-EE78E2494854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600" dirty="0" smtClean="0"/>
            <a:t>Typescript</a:t>
          </a:r>
          <a:br>
            <a:rPr lang="en-US" sz="1600" dirty="0" smtClean="0"/>
          </a:br>
          <a:r>
            <a:rPr lang="en-US" sz="1600" dirty="0" smtClean="0"/>
            <a:t>types + annotations</a:t>
          </a:r>
          <a:endParaRPr lang="en-US" sz="1600" dirty="0"/>
        </a:p>
      </dgm:t>
    </dgm:pt>
    <dgm:pt modelId="{CA61253C-B9EF-46DC-84E7-B20110D4AEF3}" type="parTrans" cxnId="{E6316409-E564-4641-9777-1C0FA11B3958}">
      <dgm:prSet/>
      <dgm:spPr/>
      <dgm:t>
        <a:bodyPr/>
        <a:lstStyle/>
        <a:p>
          <a:endParaRPr lang="en-US"/>
        </a:p>
      </dgm:t>
    </dgm:pt>
    <dgm:pt modelId="{4E2A169B-BFDC-4BBA-BE06-A6D6C8927065}" type="sibTrans" cxnId="{E6316409-E564-4641-9777-1C0FA11B3958}">
      <dgm:prSet/>
      <dgm:spPr/>
      <dgm:t>
        <a:bodyPr/>
        <a:lstStyle/>
        <a:p>
          <a:endParaRPr lang="en-US"/>
        </a:p>
      </dgm:t>
    </dgm:pt>
    <dgm:pt modelId="{E90E4CAA-C402-4131-A320-131A7B54893E}">
      <dgm:prSet phldrT="[Text]" custT="1"/>
      <dgm:spPr>
        <a:solidFill>
          <a:srgbClr val="92D050"/>
        </a:solidFill>
      </dgm:spPr>
      <dgm:t>
        <a:bodyPr/>
        <a:lstStyle/>
        <a:p>
          <a:r>
            <a:rPr lang="en-US" sz="1800" dirty="0" smtClean="0"/>
            <a:t>ES6</a:t>
          </a:r>
          <a:br>
            <a:rPr lang="en-US" sz="1800" dirty="0" smtClean="0"/>
          </a:br>
          <a:r>
            <a:rPr lang="en-US" sz="1800" dirty="0" smtClean="0"/>
            <a:t>classes + modules</a:t>
          </a:r>
          <a:endParaRPr lang="en-US" sz="1800" dirty="0"/>
        </a:p>
      </dgm:t>
    </dgm:pt>
    <dgm:pt modelId="{AB7FCD95-F024-480F-9C00-B64370B21759}" type="parTrans" cxnId="{248E3898-BC65-4ABC-B634-CBB09C60A525}">
      <dgm:prSet/>
      <dgm:spPr/>
      <dgm:t>
        <a:bodyPr/>
        <a:lstStyle/>
        <a:p>
          <a:endParaRPr lang="en-US"/>
        </a:p>
      </dgm:t>
    </dgm:pt>
    <dgm:pt modelId="{8345EA76-9FDA-48E0-9A97-00C24B3661EC}" type="sibTrans" cxnId="{248E3898-BC65-4ABC-B634-CBB09C60A525}">
      <dgm:prSet/>
      <dgm:spPr/>
      <dgm:t>
        <a:bodyPr/>
        <a:lstStyle/>
        <a:p>
          <a:endParaRPr lang="en-US"/>
        </a:p>
      </dgm:t>
    </dgm:pt>
    <dgm:pt modelId="{9918B2C4-9E04-4730-ADA0-71D40C58F275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2400" dirty="0" smtClean="0">
              <a:solidFill>
                <a:schemeClr val="tx1"/>
              </a:solidFill>
            </a:rPr>
            <a:t>ES5</a:t>
          </a:r>
          <a:endParaRPr lang="en-US" sz="2400" dirty="0">
            <a:solidFill>
              <a:schemeClr val="tx1"/>
            </a:solidFill>
          </a:endParaRPr>
        </a:p>
      </dgm:t>
    </dgm:pt>
    <dgm:pt modelId="{42256EE0-2D68-4D50-BF01-5179BA4E6432}" type="parTrans" cxnId="{BB49726E-FE1F-425E-AB83-C46F96A0C7E0}">
      <dgm:prSet/>
      <dgm:spPr/>
      <dgm:t>
        <a:bodyPr/>
        <a:lstStyle/>
        <a:p>
          <a:endParaRPr lang="en-US"/>
        </a:p>
      </dgm:t>
    </dgm:pt>
    <dgm:pt modelId="{7EC0709D-DD50-4950-A9AD-68E72A6D6A0F}" type="sibTrans" cxnId="{BB49726E-FE1F-425E-AB83-C46F96A0C7E0}">
      <dgm:prSet/>
      <dgm:spPr/>
      <dgm:t>
        <a:bodyPr/>
        <a:lstStyle/>
        <a:p>
          <a:endParaRPr lang="en-US"/>
        </a:p>
      </dgm:t>
    </dgm:pt>
    <dgm:pt modelId="{EB4C3840-C39D-400D-A1DE-2BF7C0EA4BF8}" type="pres">
      <dgm:prSet presAssocID="{A4B3462A-5230-4D3C-B1A8-F33CAD980E40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0E8C5DA-9D4F-439D-AB62-389BAFFD87EF}" type="pres">
      <dgm:prSet presAssocID="{A4B3462A-5230-4D3C-B1A8-F33CAD980E40}" presName="comp1" presStyleCnt="0"/>
      <dgm:spPr/>
    </dgm:pt>
    <dgm:pt modelId="{1A97FE47-7B84-495F-BFCD-7FE99F8EAB54}" type="pres">
      <dgm:prSet presAssocID="{A4B3462A-5230-4D3C-B1A8-F33CAD980E40}" presName="circle1" presStyleLbl="node1" presStyleIdx="0" presStyleCnt="3"/>
      <dgm:spPr/>
      <dgm:t>
        <a:bodyPr/>
        <a:lstStyle/>
        <a:p>
          <a:endParaRPr lang="en-US"/>
        </a:p>
      </dgm:t>
    </dgm:pt>
    <dgm:pt modelId="{A9F87F2F-9AEC-47A5-A367-D5184AE8408F}" type="pres">
      <dgm:prSet presAssocID="{A4B3462A-5230-4D3C-B1A8-F33CAD980E40}" presName="c1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947938-66C1-422C-8DE4-8E24F3FEDF17}" type="pres">
      <dgm:prSet presAssocID="{A4B3462A-5230-4D3C-B1A8-F33CAD980E40}" presName="comp2" presStyleCnt="0"/>
      <dgm:spPr/>
    </dgm:pt>
    <dgm:pt modelId="{BBB1C4BA-0715-4E13-A5ED-C1CD0E73F2F6}" type="pres">
      <dgm:prSet presAssocID="{A4B3462A-5230-4D3C-B1A8-F33CAD980E40}" presName="circle2" presStyleLbl="node1" presStyleIdx="1" presStyleCnt="3"/>
      <dgm:spPr/>
      <dgm:t>
        <a:bodyPr/>
        <a:lstStyle/>
        <a:p>
          <a:endParaRPr lang="en-US"/>
        </a:p>
      </dgm:t>
    </dgm:pt>
    <dgm:pt modelId="{673103AC-CB5F-441D-89EE-D7C02110BFCB}" type="pres">
      <dgm:prSet presAssocID="{A4B3462A-5230-4D3C-B1A8-F33CAD980E40}" presName="c2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6A8448E-9562-4031-9F5D-21E0E5F4B1C0}" type="pres">
      <dgm:prSet presAssocID="{A4B3462A-5230-4D3C-B1A8-F33CAD980E40}" presName="comp3" presStyleCnt="0"/>
      <dgm:spPr/>
    </dgm:pt>
    <dgm:pt modelId="{DD06AB4E-2A6D-47F7-8552-2BBAB37740F8}" type="pres">
      <dgm:prSet presAssocID="{A4B3462A-5230-4D3C-B1A8-F33CAD980E40}" presName="circle3" presStyleLbl="node1" presStyleIdx="2" presStyleCnt="3"/>
      <dgm:spPr/>
      <dgm:t>
        <a:bodyPr/>
        <a:lstStyle/>
        <a:p>
          <a:endParaRPr lang="en-US"/>
        </a:p>
      </dgm:t>
    </dgm:pt>
    <dgm:pt modelId="{45D77AC8-16AE-4F8C-9133-2D8C91455FAD}" type="pres">
      <dgm:prSet presAssocID="{A4B3462A-5230-4D3C-B1A8-F33CAD980E40}" presName="c3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4705F71-31FB-49F1-AA41-C193C8C6F8AE}" type="presOf" srcId="{9918B2C4-9E04-4730-ADA0-71D40C58F275}" destId="{DD06AB4E-2A6D-47F7-8552-2BBAB37740F8}" srcOrd="0" destOrd="0" presId="urn:microsoft.com/office/officeart/2005/8/layout/venn2"/>
    <dgm:cxn modelId="{93DEDF8D-5BD1-4A3C-B731-14F123B80BCC}" type="presOf" srcId="{E90E4CAA-C402-4131-A320-131A7B54893E}" destId="{BBB1C4BA-0715-4E13-A5ED-C1CD0E73F2F6}" srcOrd="0" destOrd="0" presId="urn:microsoft.com/office/officeart/2005/8/layout/venn2"/>
    <dgm:cxn modelId="{BB49726E-FE1F-425E-AB83-C46F96A0C7E0}" srcId="{A4B3462A-5230-4D3C-B1A8-F33CAD980E40}" destId="{9918B2C4-9E04-4730-ADA0-71D40C58F275}" srcOrd="2" destOrd="0" parTransId="{42256EE0-2D68-4D50-BF01-5179BA4E6432}" sibTransId="{7EC0709D-DD50-4950-A9AD-68E72A6D6A0F}"/>
    <dgm:cxn modelId="{E6316409-E564-4641-9777-1C0FA11B3958}" srcId="{A4B3462A-5230-4D3C-B1A8-F33CAD980E40}" destId="{9D6384B5-A1BD-435B-8DD7-EE78E2494854}" srcOrd="0" destOrd="0" parTransId="{CA61253C-B9EF-46DC-84E7-B20110D4AEF3}" sibTransId="{4E2A169B-BFDC-4BBA-BE06-A6D6C8927065}"/>
    <dgm:cxn modelId="{248E3898-BC65-4ABC-B634-CBB09C60A525}" srcId="{A4B3462A-5230-4D3C-B1A8-F33CAD980E40}" destId="{E90E4CAA-C402-4131-A320-131A7B54893E}" srcOrd="1" destOrd="0" parTransId="{AB7FCD95-F024-480F-9C00-B64370B21759}" sibTransId="{8345EA76-9FDA-48E0-9A97-00C24B3661EC}"/>
    <dgm:cxn modelId="{232587D0-7822-4A87-861F-7672E7500080}" type="presOf" srcId="{E90E4CAA-C402-4131-A320-131A7B54893E}" destId="{673103AC-CB5F-441D-89EE-D7C02110BFCB}" srcOrd="1" destOrd="0" presId="urn:microsoft.com/office/officeart/2005/8/layout/venn2"/>
    <dgm:cxn modelId="{2F0A4C52-456A-4919-9673-5C23C072E4EE}" type="presOf" srcId="{9918B2C4-9E04-4730-ADA0-71D40C58F275}" destId="{45D77AC8-16AE-4F8C-9133-2D8C91455FAD}" srcOrd="1" destOrd="0" presId="urn:microsoft.com/office/officeart/2005/8/layout/venn2"/>
    <dgm:cxn modelId="{6AC3F773-4B31-4ACC-B8F7-58A4D196589A}" type="presOf" srcId="{9D6384B5-A1BD-435B-8DD7-EE78E2494854}" destId="{1A97FE47-7B84-495F-BFCD-7FE99F8EAB54}" srcOrd="0" destOrd="0" presId="urn:microsoft.com/office/officeart/2005/8/layout/venn2"/>
    <dgm:cxn modelId="{C556AA68-AA54-4A66-B0BB-AF525933AC4C}" type="presOf" srcId="{A4B3462A-5230-4D3C-B1A8-F33CAD980E40}" destId="{EB4C3840-C39D-400D-A1DE-2BF7C0EA4BF8}" srcOrd="0" destOrd="0" presId="urn:microsoft.com/office/officeart/2005/8/layout/venn2"/>
    <dgm:cxn modelId="{91E54D60-BF33-4AFD-B5E3-C1B50B5F3A31}" type="presOf" srcId="{9D6384B5-A1BD-435B-8DD7-EE78E2494854}" destId="{A9F87F2F-9AEC-47A5-A367-D5184AE8408F}" srcOrd="1" destOrd="0" presId="urn:microsoft.com/office/officeart/2005/8/layout/venn2"/>
    <dgm:cxn modelId="{576FA9BB-A683-4DBF-9A77-E28A6D3E400B}" type="presParOf" srcId="{EB4C3840-C39D-400D-A1DE-2BF7C0EA4BF8}" destId="{40E8C5DA-9D4F-439D-AB62-389BAFFD87EF}" srcOrd="0" destOrd="0" presId="urn:microsoft.com/office/officeart/2005/8/layout/venn2"/>
    <dgm:cxn modelId="{081522A9-AD07-4E03-8620-3824E9B4C198}" type="presParOf" srcId="{40E8C5DA-9D4F-439D-AB62-389BAFFD87EF}" destId="{1A97FE47-7B84-495F-BFCD-7FE99F8EAB54}" srcOrd="0" destOrd="0" presId="urn:microsoft.com/office/officeart/2005/8/layout/venn2"/>
    <dgm:cxn modelId="{63C9FD11-FE4F-495C-884A-537157DB616E}" type="presParOf" srcId="{40E8C5DA-9D4F-439D-AB62-389BAFFD87EF}" destId="{A9F87F2F-9AEC-47A5-A367-D5184AE8408F}" srcOrd="1" destOrd="0" presId="urn:microsoft.com/office/officeart/2005/8/layout/venn2"/>
    <dgm:cxn modelId="{E596DC1B-5CC4-4511-8663-E1D28C938E94}" type="presParOf" srcId="{EB4C3840-C39D-400D-A1DE-2BF7C0EA4BF8}" destId="{5D947938-66C1-422C-8DE4-8E24F3FEDF17}" srcOrd="1" destOrd="0" presId="urn:microsoft.com/office/officeart/2005/8/layout/venn2"/>
    <dgm:cxn modelId="{456FC9A2-025F-4DA4-89AC-711482502C68}" type="presParOf" srcId="{5D947938-66C1-422C-8DE4-8E24F3FEDF17}" destId="{BBB1C4BA-0715-4E13-A5ED-C1CD0E73F2F6}" srcOrd="0" destOrd="0" presId="urn:microsoft.com/office/officeart/2005/8/layout/venn2"/>
    <dgm:cxn modelId="{F6A83C10-1101-4395-BFA4-F8B3CA3DA308}" type="presParOf" srcId="{5D947938-66C1-422C-8DE4-8E24F3FEDF17}" destId="{673103AC-CB5F-441D-89EE-D7C02110BFCB}" srcOrd="1" destOrd="0" presId="urn:microsoft.com/office/officeart/2005/8/layout/venn2"/>
    <dgm:cxn modelId="{EC1E772B-5F76-4CF4-B8E6-1615BEFE379B}" type="presParOf" srcId="{EB4C3840-C39D-400D-A1DE-2BF7C0EA4BF8}" destId="{16A8448E-9562-4031-9F5D-21E0E5F4B1C0}" srcOrd="2" destOrd="0" presId="urn:microsoft.com/office/officeart/2005/8/layout/venn2"/>
    <dgm:cxn modelId="{AD0A767A-E0AA-42EB-9718-957EF67B574E}" type="presParOf" srcId="{16A8448E-9562-4031-9F5D-21E0E5F4B1C0}" destId="{DD06AB4E-2A6D-47F7-8552-2BBAB37740F8}" srcOrd="0" destOrd="0" presId="urn:microsoft.com/office/officeart/2005/8/layout/venn2"/>
    <dgm:cxn modelId="{22E8039A-14F4-4A35-B6BA-EA77AC5235B8}" type="presParOf" srcId="{16A8448E-9562-4031-9F5D-21E0E5F4B1C0}" destId="{45D77AC8-16AE-4F8C-9133-2D8C91455FAD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97FE47-7B84-495F-BFCD-7FE99F8EAB54}">
      <dsp:nvSpPr>
        <dsp:cNvPr id="0" name=""/>
        <dsp:cNvSpPr/>
      </dsp:nvSpPr>
      <dsp:spPr>
        <a:xfrm>
          <a:off x="995715" y="0"/>
          <a:ext cx="3982861" cy="3982861"/>
        </a:xfrm>
        <a:prstGeom prst="ellipse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Typescript</a:t>
          </a:r>
          <a:br>
            <a:rPr lang="en-US" sz="1600" kern="1200" dirty="0" smtClean="0"/>
          </a:br>
          <a:r>
            <a:rPr lang="en-US" sz="1600" kern="1200" dirty="0" smtClean="0"/>
            <a:t>types + annotations</a:t>
          </a:r>
          <a:endParaRPr lang="en-US" sz="1600" kern="1200" dirty="0"/>
        </a:p>
      </dsp:txBody>
      <dsp:txXfrm>
        <a:off x="2291141" y="199143"/>
        <a:ext cx="1392009" cy="597429"/>
      </dsp:txXfrm>
    </dsp:sp>
    <dsp:sp modelId="{BBB1C4BA-0715-4E13-A5ED-C1CD0E73F2F6}">
      <dsp:nvSpPr>
        <dsp:cNvPr id="0" name=""/>
        <dsp:cNvSpPr/>
      </dsp:nvSpPr>
      <dsp:spPr>
        <a:xfrm>
          <a:off x="1493573" y="995715"/>
          <a:ext cx="2987145" cy="2987145"/>
        </a:xfrm>
        <a:prstGeom prst="ellipse">
          <a:avLst/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ES6</a:t>
          </a:r>
          <a:br>
            <a:rPr lang="en-US" sz="1800" kern="1200" dirty="0" smtClean="0"/>
          </a:br>
          <a:r>
            <a:rPr lang="en-US" sz="1800" kern="1200" dirty="0" smtClean="0"/>
            <a:t>classes + modules</a:t>
          </a:r>
          <a:endParaRPr lang="en-US" sz="1800" kern="1200" dirty="0"/>
        </a:p>
      </dsp:txBody>
      <dsp:txXfrm>
        <a:off x="2291141" y="1182411"/>
        <a:ext cx="1392009" cy="560089"/>
      </dsp:txXfrm>
    </dsp:sp>
    <dsp:sp modelId="{DD06AB4E-2A6D-47F7-8552-2BBAB37740F8}">
      <dsp:nvSpPr>
        <dsp:cNvPr id="0" name=""/>
        <dsp:cNvSpPr/>
      </dsp:nvSpPr>
      <dsp:spPr>
        <a:xfrm>
          <a:off x="1991430" y="1991430"/>
          <a:ext cx="1991430" cy="1991430"/>
        </a:xfrm>
        <a:prstGeom prst="ellipse">
          <a:avLst/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solidFill>
                <a:schemeClr val="tx1"/>
              </a:solidFill>
            </a:rPr>
            <a:t>ES5</a:t>
          </a:r>
          <a:endParaRPr lang="en-US" sz="2400" kern="1200" dirty="0">
            <a:solidFill>
              <a:schemeClr val="tx1"/>
            </a:solidFill>
          </a:endParaRPr>
        </a:p>
      </dsp:txBody>
      <dsp:txXfrm>
        <a:off x="2283068" y="2489288"/>
        <a:ext cx="1408154" cy="9957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3239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914" name="AutoShap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8175"/>
            <a:ext cx="5349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7CE82E61-B7E2-4FD0-A53F-829A7DAE4E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57925" y="111125"/>
            <a:ext cx="2952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0426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904909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700641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0604748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41186182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42756565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3561780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2850559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3964997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7006412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7006412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5459523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81487382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9348579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0296941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80179755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97798405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67040400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210165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1568450"/>
            <a:ext cx="3956050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5" y="1568450"/>
            <a:ext cx="3957638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638" y="269875"/>
            <a:ext cx="2016125" cy="5734050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269875"/>
            <a:ext cx="5897563" cy="57340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395413"/>
            <a:ext cx="3956050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395413"/>
            <a:ext cx="3957638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7963" y="263525"/>
            <a:ext cx="2016125" cy="55673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263525"/>
            <a:ext cx="5897563" cy="55673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itleBottomBarBW" hidden="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4" name="Group 4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6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7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5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69C18D-7E1B-48C4-91C2-0CEA81302A6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161E28-45DF-487F-BEB9-211EC56010DE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8DEB3D-3997-44E4-88FB-46EC40B138F5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03EC39-C108-481E-9494-8D1232F538F2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0AA9F-F62D-4B54-BC62-9CA8A5D1B46F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56EA3E-A40E-457F-8AD7-17D62A1A003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078858-DDDF-4233-8920-E5D2F37D97F0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6701DF-A01B-4EFE-9DAC-FE629210FE9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C12B62-812A-4F71-8E90-2965942D1F8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3D73FD-30BC-413B-A5A6-815AD9CE400D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oleObject" Target="../embeddings/oleObject2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ags" Target="../tags/tag1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3762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37376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9" name="Rectangle 295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0"/>
            <a:ext cx="8961438" cy="1044575"/>
          </a:xfrm>
          <a:prstGeom prst="rect">
            <a:avLst/>
          </a:prstGeom>
          <a:gradFill rotWithShape="1">
            <a:gsLst>
              <a:gs pos="0">
                <a:srgbClr val="EAEAEA"/>
              </a:gs>
              <a:gs pos="100000">
                <a:schemeClr val="bg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1320" name="Line 29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0" y="39688"/>
            <a:ext cx="8961438" cy="0"/>
          </a:xfrm>
          <a:prstGeom prst="line">
            <a:avLst/>
          </a:prstGeom>
          <a:noFill/>
          <a:ln w="76200">
            <a:solidFill>
              <a:srgbClr val="A5002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373784" name="McK 2. Slide Title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19063" y="230188"/>
            <a:ext cx="86185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373787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+mn-ea"/>
                  <a:cs typeface="+mn-cs"/>
                </a:rPr>
                <a:t>SOURCE: Source</a:t>
              </a:r>
            </a:p>
          </p:txBody>
        </p:sp>
      </p:grpSp>
      <p:grpSp>
        <p:nvGrpSpPr>
          <p:cNvPr id="373788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7379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+mn-ea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1306" name="doc id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+mn-ea"/>
              <a:cs typeface="+mn-cs"/>
            </a:endParaRPr>
          </a:p>
        </p:txBody>
      </p:sp>
      <p:sp>
        <p:nvSpPr>
          <p:cNvPr id="373790" name="Rectangle 286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316" name="Line 292"/>
          <p:cNvSpPr>
            <a:spLocks noChangeShapeType="1"/>
          </p:cNvSpPr>
          <p:nvPr userDrawn="1">
            <p:custDataLst>
              <p:tags r:id="rId23"/>
            </p:custDataLst>
          </p:nvPr>
        </p:nvSpPr>
        <p:spPr bwMode="auto">
          <a:xfrm>
            <a:off x="1277938" y="6203950"/>
            <a:ext cx="64389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pic>
        <p:nvPicPr>
          <p:cNvPr id="373792" name="Picture 294" descr="pitango_logo"/>
          <p:cNvPicPr>
            <a:picLocks noChangeAspect="1" noChangeArrowheads="1"/>
          </p:cNvPicPr>
          <p:nvPr userDrawn="1">
            <p:custDataLst>
              <p:tags r:id="rId24"/>
            </p:custDataLst>
          </p:nvPr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03" t="28952" r="10431" b="27167"/>
          <a:stretch>
            <a:fillRect/>
          </a:stretch>
        </p:blipFill>
        <p:spPr bwMode="auto">
          <a:xfrm>
            <a:off x="7747000" y="6027738"/>
            <a:ext cx="1182688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73780" name="Object 20"/>
          <p:cNvGraphicFramePr>
            <a:graphicFrameLocks noChangeAspect="1"/>
          </p:cNvGraphicFramePr>
          <p:nvPr/>
        </p:nvGraphicFramePr>
        <p:xfrm>
          <a:off x="33338" y="6073775"/>
          <a:ext cx="1244600" cy="261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Acrobat Document" r:id="rId27" imgW="12966480" imgH="8997120" progId="AcroExch.Document.11">
                  <p:embed/>
                </p:oleObj>
              </mc:Choice>
              <mc:Fallback>
                <p:oleObj name="Acrobat Document" r:id="rId27" imgW="12966480" imgH="8997120" progId="AcroExch.Document.11">
                  <p:embed/>
                  <p:pic>
                    <p:nvPicPr>
                      <p:cNvPr id="37378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15956" t="35126" r="12169" b="42209"/>
                      <a:stretch>
                        <a:fillRect/>
                      </a:stretch>
                    </p:blipFill>
                    <p:spPr bwMode="auto">
                      <a:xfrm>
                        <a:off x="33338" y="6073775"/>
                        <a:ext cx="1244600" cy="2619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C7E0FB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FFFFFF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5" r:id="rId2"/>
    <p:sldLayoutId id="2147484114" r:id="rId3"/>
    <p:sldLayoutId id="2147484113" r:id="rId4"/>
    <p:sldLayoutId id="2147484112" r:id="rId5"/>
    <p:sldLayoutId id="2147484111" r:id="rId6"/>
    <p:sldLayoutId id="2147484110" r:id="rId7"/>
    <p:sldLayoutId id="2147484109" r:id="rId8"/>
    <p:sldLayoutId id="2147484108" r:id="rId9"/>
    <p:sldLayoutId id="2147484107" r:id="rId10"/>
    <p:sldLayoutId id="2147484106" r:id="rId11"/>
  </p:sldLayoutIdLst>
  <p:txStyles>
    <p:titleStyle>
      <a:lvl1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+mj-lt"/>
          <a:ea typeface="+mj-ea"/>
          <a:cs typeface="+mj-cs"/>
        </a:defRPr>
      </a:lvl1pPr>
      <a:lvl2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2pPr>
      <a:lvl3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3pPr>
      <a:lvl4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4pPr>
      <a:lvl5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5pPr>
      <a:lvl6pPr marL="4572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6pPr>
      <a:lvl7pPr marL="9144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7pPr>
      <a:lvl8pPr marL="13716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8pPr>
      <a:lvl9pPr marL="18288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2"/>
          </a:solidFill>
          <a:latin typeface="+mn-lt"/>
          <a:ea typeface="+mn-ea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6" r:id="rId2"/>
    <p:sldLayoutId id="2147484125" r:id="rId3"/>
    <p:sldLayoutId id="2147484124" r:id="rId4"/>
    <p:sldLayoutId id="2147484123" r:id="rId5"/>
    <p:sldLayoutId id="2147484122" r:id="rId6"/>
    <p:sldLayoutId id="2147484121" r:id="rId7"/>
    <p:sldLayoutId id="2147484120" r:id="rId8"/>
    <p:sldLayoutId id="2147484119" r:id="rId9"/>
    <p:sldLayoutId id="2147484118" r:id="rId10"/>
    <p:sldLayoutId id="214748411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3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395413"/>
            <a:ext cx="8066088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aa </a:t>
            </a:r>
            <a:r>
              <a:rPr lang="he-IL" smtClean="0"/>
              <a:t>לחץ כדי לערוך סגנונות טקסט של תבנית בסיס</a:t>
            </a:r>
            <a:endParaRPr lang="en-US" smtClean="0"/>
          </a:p>
          <a:p>
            <a:pPr lvl="1"/>
            <a:r>
              <a:rPr lang="he-IL" smtClean="0"/>
              <a:t>רמה שנייה</a:t>
            </a:r>
            <a:endParaRPr lang="en-US" smtClean="0"/>
          </a:p>
          <a:p>
            <a:pPr lvl="2"/>
            <a:r>
              <a:rPr lang="he-IL" smtClean="0"/>
              <a:t>רמה שלישית</a:t>
            </a:r>
            <a:endParaRPr lang="en-US" smtClean="0"/>
          </a:p>
          <a:p>
            <a:pPr lvl="3"/>
            <a:r>
              <a:rPr lang="he-IL" smtClean="0"/>
              <a:t>רמה רביעית</a:t>
            </a:r>
            <a:endParaRPr lang="en-US" smtClean="0"/>
          </a:p>
          <a:p>
            <a:pPr lvl="4"/>
            <a:r>
              <a:rPr lang="he-IL" smtClean="0"/>
              <a:t>רמה חמישית</a:t>
            </a:r>
            <a:endParaRPr lang="en-US" smtClean="0"/>
          </a:p>
        </p:txBody>
      </p:sp>
      <p:sp>
        <p:nvSpPr>
          <p:cNvPr id="115715" name="Rectangle 3"/>
          <p:cNvSpPr>
            <a:spLocks noChangeArrowheads="1"/>
          </p:cNvSpPr>
          <p:nvPr userDrawn="1"/>
        </p:nvSpPr>
        <p:spPr bwMode="auto">
          <a:xfrm>
            <a:off x="6583363" y="5407025"/>
            <a:ext cx="2378075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83" tIns="44792" rIns="89583" bIns="44792"/>
          <a:lstStyle/>
          <a:p>
            <a:pPr algn="ctr" defTabSz="895350" eaLnBrk="0" hangingPunct="0">
              <a:defRPr/>
            </a:pPr>
            <a:endParaRPr lang="en-US" sz="1400" b="1">
              <a:solidFill>
                <a:schemeClr val="bg1"/>
              </a:solidFill>
              <a:latin typeface="Georgia" pitchFamily="18" charset="0"/>
              <a:ea typeface="MS PGothic" pitchFamily="34" charset="-128"/>
            </a:endParaRPr>
          </a:p>
        </p:txBody>
      </p:sp>
      <p:sp>
        <p:nvSpPr>
          <p:cNvPr id="115716" name="Rectangle 4"/>
          <p:cNvSpPr>
            <a:spLocks noChangeArrowheads="1"/>
          </p:cNvSpPr>
          <p:nvPr userDrawn="1"/>
        </p:nvSpPr>
        <p:spPr bwMode="auto">
          <a:xfrm>
            <a:off x="2574925" y="327025"/>
            <a:ext cx="6386513" cy="635000"/>
          </a:xfrm>
          <a:prstGeom prst="rect">
            <a:avLst/>
          </a:prstGeom>
          <a:solidFill>
            <a:srgbClr val="A10A00"/>
          </a:solidFill>
          <a:ln w="9525" algn="ctr">
            <a:noFill/>
            <a:miter lim="800000"/>
            <a:headEnd/>
            <a:tailEnd/>
          </a:ln>
        </p:spPr>
        <p:txBody>
          <a:bodyPr wrap="none" lIns="89611" tIns="44806" rIns="89611" bIns="44806" anchor="ctr"/>
          <a:lstStyle/>
          <a:p>
            <a:pPr defTabSz="895350">
              <a:defRPr/>
            </a:pPr>
            <a:endParaRPr lang="en-US" sz="3100">
              <a:ea typeface="MS PGothic" pitchFamily="34" charset="-128"/>
            </a:endParaRPr>
          </a:p>
        </p:txBody>
      </p:sp>
      <p:sp>
        <p:nvSpPr>
          <p:cNvPr id="398341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717800" y="263525"/>
            <a:ext cx="3668713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</a:t>
            </a:r>
          </a:p>
        </p:txBody>
      </p:sp>
      <p:sp>
        <p:nvSpPr>
          <p:cNvPr id="115719" name="Line 7"/>
          <p:cNvSpPr>
            <a:spLocks noChangeShapeType="1"/>
          </p:cNvSpPr>
          <p:nvPr userDrawn="1"/>
        </p:nvSpPr>
        <p:spPr bwMode="auto">
          <a:xfrm>
            <a:off x="0" y="1031875"/>
            <a:ext cx="8961438" cy="0"/>
          </a:xfrm>
          <a:prstGeom prst="line">
            <a:avLst/>
          </a:prstGeom>
          <a:noFill/>
          <a:ln w="12700">
            <a:solidFill>
              <a:srgbClr val="A30A00"/>
            </a:solidFill>
            <a:round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pSp>
        <p:nvGrpSpPr>
          <p:cNvPr id="398343" name="Group 11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398344" name="Group 10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115717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115720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115722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7" r:id="rId2"/>
    <p:sldLayoutId id="2147484136" r:id="rId3"/>
    <p:sldLayoutId id="2147484135" r:id="rId4"/>
    <p:sldLayoutId id="2147484134" r:id="rId5"/>
    <p:sldLayoutId id="2147484133" r:id="rId6"/>
    <p:sldLayoutId id="2147484132" r:id="rId7"/>
    <p:sldLayoutId id="2147484131" r:id="rId8"/>
    <p:sldLayoutId id="2147484130" r:id="rId9"/>
    <p:sldLayoutId id="2147484129" r:id="rId10"/>
    <p:sldLayoutId id="2147484128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9pPr>
    </p:titleStyle>
    <p:bodyStyle>
      <a:lvl1pPr marL="336550" indent="-336550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ea typeface="+mn-ea"/>
          <a:cs typeface="+mn-cs"/>
        </a:defRPr>
      </a:lvl1pPr>
      <a:lvl2pPr marL="728663" indent="-280988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2pPr>
      <a:lvl3pPr marL="1120775" indent="-225425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3pPr>
      <a:lvl4pPr marL="1568450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4pPr>
      <a:lvl5pPr marL="2016125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5pPr>
      <a:lvl6pPr marL="24733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6pPr>
      <a:lvl7pPr marL="29305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7pPr>
      <a:lvl8pPr marL="33877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8pPr>
      <a:lvl9pPr marL="38449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2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4724" name="SlideLogoText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000">
                <a:ea typeface="MS PGothic" pitchFamily="34" charset="-128"/>
                <a:cs typeface="+mn-cs"/>
              </a:rPr>
              <a:t>McKinsey &amp; Company</a:t>
            </a:r>
          </a:p>
        </p:txBody>
      </p:sp>
      <p:sp>
        <p:nvSpPr>
          <p:cNvPr id="414725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TRACKER</a:t>
            </a:r>
          </a:p>
        </p:txBody>
      </p:sp>
      <p:sp>
        <p:nvSpPr>
          <p:cNvPr id="414726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Unit of measure</a:t>
            </a:r>
          </a:p>
        </p:txBody>
      </p:sp>
      <p:grpSp>
        <p:nvGrpSpPr>
          <p:cNvPr id="410631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41472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MS PGothic" pitchFamily="34" charset="-128"/>
                  <a:cs typeface="+mn-cs"/>
                </a:rPr>
                <a:t>1 Footnote</a:t>
              </a:r>
            </a:p>
          </p:txBody>
        </p:sp>
        <p:sp>
          <p:nvSpPr>
            <p:cNvPr id="41472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MS PGothic" pitchFamily="34" charset="-128"/>
                  <a:cs typeface="+mn-cs"/>
                </a:rPr>
                <a:t>SOURCE: Source</a:t>
              </a:r>
            </a:p>
          </p:txBody>
        </p:sp>
      </p:grpSp>
      <p:grpSp>
        <p:nvGrpSpPr>
          <p:cNvPr id="410632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410639" name="AutoShape 11" hidden="1"/>
            <p:cNvCxnSpPr>
              <a:cxnSpLocks noChangeShapeType="1"/>
              <a:stCxn id="414732" idx="4"/>
              <a:endCxn id="41473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414732" name="AutoShape 12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MS PGothic" pitchFamily="34" charset="-128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MS PGothic" pitchFamily="34" charset="-128"/>
                  <a:cs typeface="+mn-cs"/>
                </a:rPr>
                <a:t>Unit of measure</a:t>
              </a:r>
            </a:p>
          </p:txBody>
        </p:sp>
      </p:grpSp>
      <p:sp>
        <p:nvSpPr>
          <p:cNvPr id="414733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67544FCE-F1B0-40E2-8568-E3C6D011395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  <p:sp>
        <p:nvSpPr>
          <p:cNvPr id="414734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MS PGothic" pitchFamily="34" charset="-128"/>
              <a:cs typeface="+mn-cs"/>
            </a:endParaRPr>
          </a:p>
        </p:txBody>
      </p:sp>
      <p:sp>
        <p:nvSpPr>
          <p:cNvPr id="414735" name="Working Draft"/>
          <p:cNvSpPr txBox="1">
            <a:spLocks noChangeArrowheads="1"/>
          </p:cNvSpPr>
          <p:nvPr/>
        </p:nvSpPr>
        <p:spPr bwMode="auto">
          <a:xfrm rot="5400000">
            <a:off x="8397081" y="2359819"/>
            <a:ext cx="9890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Working Draft - Last Modifi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4736" name="Printed"/>
          <p:cNvSpPr txBox="1">
            <a:spLocks noChangeArrowheads="1"/>
          </p:cNvSpPr>
          <p:nvPr/>
        </p:nvSpPr>
        <p:spPr bwMode="auto">
          <a:xfrm rot="5400000">
            <a:off x="8770144" y="3852069"/>
            <a:ext cx="242887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Print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37" name="Rectangle 1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14738" name="SlideLogoSeparator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200">
                <a:ea typeface="MS PGothic" pitchFamily="34" charset="-128"/>
                <a:cs typeface="+mn-cs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48" r:id="rId2"/>
    <p:sldLayoutId id="2147484147" r:id="rId3"/>
    <p:sldLayoutId id="2147484146" r:id="rId4"/>
    <p:sldLayoutId id="2147484145" r:id="rId5"/>
    <p:sldLayoutId id="2147484144" r:id="rId6"/>
    <p:sldLayoutId id="2147484143" r:id="rId7"/>
    <p:sldLayoutId id="2147484142" r:id="rId8"/>
    <p:sldLayoutId id="2147484141" r:id="rId9"/>
    <p:sldLayoutId id="2147484140" r:id="rId10"/>
    <p:sldLayoutId id="2147484139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s://developer.mozilla.org/en/docs/Web/JavaScript/Reference/Statements/let" TargetMode="External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://es6-features.org/" TargetMode="Externa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://es6-features.org/" TargetMode="Externa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s://googlechrome.github.io/samples/arrows-es6/" TargetMode="Externa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://exploringjs.com/es6/ch_promises.html" TargetMode="Externa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://es6-features.org/#ClassDefinition" TargetMode="External"/><Relationship Id="rId2" Type="http://schemas.openxmlformats.org/officeDocument/2006/relationships/tags" Target="../tags/tag3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://es6-features.org/#ValueExportImport" TargetMode="External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s://developer.mozilla.org/en/docs/Web/HTML/Element/noscript" TargetMode="External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34.xml"/><Relationship Id="rId7" Type="http://schemas.openxmlformats.org/officeDocument/2006/relationships/diagramData" Target="../diagrams/data1.xml"/><Relationship Id="rId12" Type="http://schemas.openxmlformats.org/officeDocument/2006/relationships/hyperlink" Target="http://www.typescriptlang.org/" TargetMode="External"/><Relationship Id="rId2" Type="http://schemas.openxmlformats.org/officeDocument/2006/relationships/tags" Target="../tags/tag3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png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5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21.xml"/><Relationship Id="rId9" Type="http://schemas.openxmlformats.org/officeDocument/2006/relationships/diagramQuickStyle" Target="../diagrams/quickStyle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15.bin"/><Relationship Id="rId5" Type="http://schemas.openxmlformats.org/officeDocument/2006/relationships/hyperlink" Target="https://www.typescriptlang.org/play/index.html" TargetMode="External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hyperlink" Target="https://nodejs.org/" TargetMode="External"/><Relationship Id="rId2" Type="http://schemas.openxmlformats.org/officeDocument/2006/relationships/tags" Target="../tags/tag3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s://nodejs.org/" TargetMode="External"/><Relationship Id="rId2" Type="http://schemas.openxmlformats.org/officeDocument/2006/relationships/tags" Target="../tags/tag3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15.bin"/><Relationship Id="rId5" Type="http://schemas.openxmlformats.org/officeDocument/2006/relationships/hyperlink" Target="https://www.typescriptlang.org/docs/handbook/basic-types.html" TargetMode="External"/><Relationship Id="rId4" Type="http://schemas.openxmlformats.org/officeDocument/2006/relationships/notesSlide" Target="../notesSlides/notesSlide26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hyperlink" Target="http://domenlightenment.com/" TargetMode="External"/><Relationship Id="rId3" Type="http://schemas.openxmlformats.org/officeDocument/2006/relationships/slideLayout" Target="../slideLayouts/slideLayout34.xml"/><Relationship Id="rId7" Type="http://schemas.openxmlformats.org/officeDocument/2006/relationships/hyperlink" Target="http://jsbooks.revolunet.com/" TargetMode="External"/><Relationship Id="rId2" Type="http://schemas.openxmlformats.org/officeDocument/2006/relationships/tags" Target="../tags/tag4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png"/><Relationship Id="rId11" Type="http://schemas.openxmlformats.org/officeDocument/2006/relationships/hyperlink" Target="https://www.typescriptlang.org/" TargetMode="External"/><Relationship Id="rId5" Type="http://schemas.openxmlformats.org/officeDocument/2006/relationships/oleObject" Target="../embeddings/oleObject16.bin"/><Relationship Id="rId10" Type="http://schemas.openxmlformats.org/officeDocument/2006/relationships/hyperlink" Target="http://overapi.com/html-dom/" TargetMode="External"/><Relationship Id="rId4" Type="http://schemas.openxmlformats.org/officeDocument/2006/relationships/notesSlide" Target="../notesSlides/notesSlide27.xml"/><Relationship Id="rId9" Type="http://schemas.openxmlformats.org/officeDocument/2006/relationships/hyperlink" Target="http://overapi.com/javascript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8429626" y="177995"/>
            <a:ext cx="361950" cy="3524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iol Regular" pitchFamily="50" charset="0"/>
              <a:ea typeface="+mj-ea"/>
              <a:cs typeface="+mj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5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Course:</a:t>
            </a:r>
          </a:p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ecome a Full-stack Developer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842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ES6 – What’s </a:t>
            </a: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new highlights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197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ES6 (JavaScript 2015) – What’s new?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let – block scoped variable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35178" y="3663783"/>
            <a:ext cx="4190294" cy="203132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old -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var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function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varTest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var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x = 1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if (true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var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x = 2;  // same variable!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console.log(x);  // 2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}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console.log(x);  // 2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}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922997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n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avascrip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doesn’t do exactly what you think – not always scoped where it is declared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e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– a new keyword you can use instead of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which properly scopes the variable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ns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– like let but cannot be assigned to (directly) in runtime – caution you can change it’s object’s/array’s properties…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551680" y="3663360"/>
            <a:ext cx="4301849" cy="203132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ES6 – let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function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letTest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let x = 1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if (true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let x = 2;  // different variable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console.log(x);  // 2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}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console.log(x);  // 1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}</a:t>
            </a:r>
          </a:p>
        </p:txBody>
      </p:sp>
      <p:sp>
        <p:nvSpPr>
          <p:cNvPr id="2" name="Rectangle 1"/>
          <p:cNvSpPr/>
          <p:nvPr/>
        </p:nvSpPr>
        <p:spPr>
          <a:xfrm>
            <a:off x="790766" y="5914663"/>
            <a:ext cx="737990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hlinkClick r:id="rId7"/>
              </a:rPr>
              <a:t>https://developer.mozilla.org/en/docs/Web/JavaScript/Reference/Statements/let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108279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ES6 (JavaScript 2015) – What’s new?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Default Parameter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35178" y="3663783"/>
            <a:ext cx="4190294" cy="178510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old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function </a:t>
            </a:r>
            <a:r>
              <a:rPr lang="en-US" sz="1600" dirty="0" err="1" smtClean="0">
                <a:solidFill>
                  <a:srgbClr val="FFFFFF"/>
                </a:solidFill>
              </a:rPr>
              <a:t>myFunc</a:t>
            </a:r>
            <a:r>
              <a:rPr lang="en-US" sz="1600" dirty="0" smtClean="0">
                <a:solidFill>
                  <a:srgbClr val="FFFFFF"/>
                </a:solidFill>
              </a:rPr>
              <a:t>(message){</a:t>
            </a:r>
          </a:p>
          <a:p>
            <a:endParaRPr lang="en-US" sz="1600" dirty="0">
              <a:solidFill>
                <a:srgbClr val="FFFFFF"/>
              </a:solidFill>
            </a:endParaRPr>
          </a:p>
          <a:p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   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// old style input validation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   </a:t>
            </a:r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message = message || “”;</a:t>
            </a:r>
          </a:p>
          <a:p>
            <a:endParaRPr lang="en-US" sz="1600" dirty="0" smtClean="0">
              <a:solidFill>
                <a:srgbClr val="FFFFFF"/>
              </a:solidFill>
            </a:endParaRPr>
          </a:p>
          <a:p>
            <a:r>
              <a:rPr lang="en-US" sz="1600" dirty="0" smtClean="0">
                <a:solidFill>
                  <a:srgbClr val="FFFFFF"/>
                </a:solidFill>
                <a:latin typeface="Source Code Pro"/>
              </a:rPr>
              <a:t>}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92299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t is now possible to default values for input parameters.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551680" y="3663360"/>
            <a:ext cx="4301849" cy="104644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ES6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smtClean="0">
                <a:solidFill>
                  <a:srgbClr val="FFFFFF"/>
                </a:solidFill>
              </a:rPr>
              <a:t>function myFuncES6(message = “”){</a:t>
            </a:r>
          </a:p>
          <a:p>
            <a:endParaRPr lang="en-US" sz="1600" dirty="0" smtClean="0">
              <a:solidFill>
                <a:srgbClr val="FFFFFF"/>
              </a:solidFill>
            </a:endParaRPr>
          </a:p>
          <a:p>
            <a:r>
              <a:rPr lang="en-US" sz="1600" dirty="0" smtClean="0">
                <a:solidFill>
                  <a:srgbClr val="FFFFFF"/>
                </a:solidFill>
                <a:latin typeface="Source Code Pro"/>
              </a:rPr>
              <a:t>}</a:t>
            </a:r>
          </a:p>
        </p:txBody>
      </p:sp>
      <p:sp>
        <p:nvSpPr>
          <p:cNvPr id="2" name="Rectangle 1"/>
          <p:cNvSpPr/>
          <p:nvPr/>
        </p:nvSpPr>
        <p:spPr>
          <a:xfrm>
            <a:off x="3254032" y="5878609"/>
            <a:ext cx="225414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hlinkClick r:id="rId7"/>
              </a:rPr>
              <a:t>http://es6-features.org/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772750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ES6 (JavaScript 2015) – What’s new?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ulti-line strings &amp; Template Literal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58750" y="3286288"/>
            <a:ext cx="4190294" cy="249299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old – multi line string</a:t>
            </a:r>
          </a:p>
          <a:p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</a:rPr>
              <a:t>myString</a:t>
            </a:r>
            <a:r>
              <a:rPr lang="en-US" sz="1600" dirty="0" smtClean="0">
                <a:solidFill>
                  <a:srgbClr val="FFFFFF"/>
                </a:solidFill>
              </a:rPr>
              <a:t> = “first line\n” </a:t>
            </a:r>
          </a:p>
          <a:p>
            <a:r>
              <a:rPr lang="en-US" sz="16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600" dirty="0" smtClean="0">
                <a:solidFill>
                  <a:srgbClr val="FFFFFF"/>
                </a:solidFill>
                <a:latin typeface="Source Code Pro"/>
              </a:rPr>
              <a:t>                     +”second line\n” </a:t>
            </a:r>
          </a:p>
          <a:p>
            <a:r>
              <a:rPr lang="en-US" sz="16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600" dirty="0" smtClean="0">
                <a:solidFill>
                  <a:srgbClr val="FFFFFF"/>
                </a:solidFill>
                <a:latin typeface="Source Code Pro"/>
              </a:rPr>
              <a:t>                     +”third line”;</a:t>
            </a:r>
          </a:p>
          <a:p>
            <a:endParaRPr lang="en-US" sz="1600" dirty="0">
              <a:solidFill>
                <a:srgbClr val="FFFFFF"/>
              </a:solidFill>
              <a:latin typeface="Source Code Pro"/>
            </a:endParaRPr>
          </a:p>
          <a:p>
            <a:endParaRPr lang="en-US" sz="1600" dirty="0" smtClean="0">
              <a:solidFill>
                <a:srgbClr val="FFFFFF"/>
              </a:solidFill>
              <a:latin typeface="Source Code Pro"/>
            </a:endParaRPr>
          </a:p>
          <a:p>
            <a:endParaRPr lang="en-US" sz="1600" dirty="0" smtClean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old concatenate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strings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err="1">
                <a:solidFill>
                  <a:srgbClr val="FFFFFF"/>
                </a:solidFill>
              </a:rPr>
              <a:t>var</a:t>
            </a:r>
            <a:r>
              <a:rPr lang="en-US" sz="1600" dirty="0">
                <a:solidFill>
                  <a:srgbClr val="FFFFFF"/>
                </a:solidFill>
              </a:rPr>
              <a:t> name = “my name”;</a:t>
            </a:r>
          </a:p>
          <a:p>
            <a:r>
              <a:rPr lang="en-US" sz="1600" dirty="0" err="1" smtClean="0">
                <a:solidFill>
                  <a:srgbClr val="FFFFFF"/>
                </a:solidFill>
                <a:latin typeface="Source Code Pro"/>
              </a:rPr>
              <a:t>var</a:t>
            </a:r>
            <a:r>
              <a:rPr lang="en-US" sz="1600" dirty="0" smtClean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  <a:latin typeface="Source Code Pro"/>
              </a:rPr>
              <a:t>myConcatString</a:t>
            </a:r>
            <a:r>
              <a:rPr lang="en-US" sz="1600" dirty="0" smtClean="0">
                <a:solidFill>
                  <a:srgbClr val="FFFFFF"/>
                </a:solidFill>
                <a:latin typeface="Source Code Pro"/>
              </a:rPr>
              <a:t> = “hello Mr. “ + name;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9229979" cy="416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t is now possible to define multi-line strings easily using “back ticks”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480484" y="3286288"/>
            <a:ext cx="4301849" cy="243143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ES6 – using back ticks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myStringES6 = `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first line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second line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third line.</a:t>
            </a:r>
          </a:p>
          <a:p>
            <a:r>
              <a:rPr lang="en-US" sz="1600" dirty="0" smtClean="0">
                <a:solidFill>
                  <a:srgbClr val="FFFFFF"/>
                </a:solidFill>
                <a:latin typeface="Source Code Pro"/>
              </a:rPr>
              <a:t>`;</a:t>
            </a:r>
          </a:p>
          <a:p>
            <a:endParaRPr lang="en-US" sz="1600" dirty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ES6 – Template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Literals</a:t>
            </a:r>
          </a:p>
          <a:p>
            <a:r>
              <a:rPr lang="en-US" sz="1400" dirty="0" err="1">
                <a:solidFill>
                  <a:srgbClr val="FFFFFF"/>
                </a:solidFill>
              </a:rPr>
              <a:t>var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FFFFFF"/>
                </a:solidFill>
              </a:rPr>
              <a:t>name = “my name”;</a:t>
            </a:r>
          </a:p>
          <a:p>
            <a:r>
              <a:rPr lang="en-US" sz="1400" dirty="0" err="1" smtClean="0">
                <a:solidFill>
                  <a:srgbClr val="FFFFFF"/>
                </a:solidFill>
              </a:rPr>
              <a:t>var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</a:rPr>
              <a:t>myTemplate</a:t>
            </a:r>
            <a:r>
              <a:rPr lang="en-US" sz="1400" dirty="0" smtClean="0">
                <a:solidFill>
                  <a:srgbClr val="FFFFFF"/>
                </a:solidFill>
              </a:rPr>
              <a:t> = `hello Mr. ${name}`;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254032" y="5878609"/>
            <a:ext cx="225414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hlinkClick r:id="rId7"/>
              </a:rPr>
              <a:t>http://es6-features.org/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045718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ES6 (JavaScript 2015) – What’s new?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rrow functions ()=&gt;{ … }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58750" y="2971328"/>
            <a:ext cx="4190294" cy="289310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old – bind, or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var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that = this…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function 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CounterES5(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seconds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= 0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window.setInterval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function(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seconds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++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}.bind(this), 1000); // or }.bind(this), 1000) and skip that = this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}</a:t>
            </a:r>
          </a:p>
          <a:p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var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counterA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= new CounterES5();</a:t>
            </a:r>
          </a:p>
          <a:p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window.setTimeout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function(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ChromeSamples.log(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counterA.seconds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)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}, 1200);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922997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unction(arguments) { expression } becomes (arguments) =&gt; { expression }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ow 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unctions are always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onymou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exically bind the this value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d 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ffectively turn function (arguments) { expression } into arguments =&gt;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xpression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f using an expression after an arrow, the return is implicit, so no return is required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480484" y="2971328"/>
            <a:ext cx="4301849" cy="203132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ES6 – arrow function handles this, lexical scope…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function CounterES6(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seconds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= 0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window.setInterval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() =&gt;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seconds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++, 1000)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}</a:t>
            </a:r>
          </a:p>
          <a:p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let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counterB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= new CounterES6();</a:t>
            </a:r>
          </a:p>
          <a:p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window.setTimeout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() =&gt; ChromeSamples.log(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counterB.seconds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), 1200);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038148" y="5894390"/>
            <a:ext cx="488467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hlinkClick r:id="rId7"/>
              </a:rPr>
              <a:t>https://googlechrome.github.io/samples/arrows-es6/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889977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ES6 (JavaScript 2015) – What’s new?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romises – built i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922997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omise = new Promise(function()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{});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llbacks are functions, promises are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ect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llbacks are passed as arguments, promises are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turned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llbacks can represent multiple events, promises represent at most one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58750" y="2798608"/>
            <a:ext cx="8623583" cy="310854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ES6 – Promises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function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asyncFunc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return new Promise(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function (resolve, reject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    ···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    resolve(value); // success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    ···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    reject(error); // failure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});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}</a:t>
            </a:r>
          </a:p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call function</a:t>
            </a:r>
          </a:p>
          <a:p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asyncFunc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)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 .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then(value =&gt; { /* success */ })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 .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catch(error =&gt; { /* failure */ });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647525" y="5945483"/>
            <a:ext cx="366638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hlinkClick r:id="rId7"/>
              </a:rPr>
              <a:t>http://exploringjs.com/es6/ch_promises.html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96704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ES6 (JavaScript 2015) – What’s new?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Clas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323013" y="858881"/>
            <a:ext cx="443490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lasses are 1</a:t>
            </a:r>
            <a:r>
              <a:rPr lang="en-US" sz="1600" baseline="30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class citizen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nstructor() function availab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ublic, private availab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xtend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– inheritanc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upe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– call super clas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35177" y="870906"/>
            <a:ext cx="4599383" cy="461664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ES6 – Promises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class Shape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constructor (id, x, y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this.id = id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move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x, y)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}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private set id  (id)  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{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this.id 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=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id;  }</a:t>
            </a:r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get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id  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)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{ 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return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this.id;}</a:t>
            </a:r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move (x, y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x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= x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y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= y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}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}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inheritance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class Rectangle extends Shape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constructor (id, x, y, width, height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super(id, x, y)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width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 = width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height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= height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}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}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647525" y="5945483"/>
            <a:ext cx="32784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hlinkClick r:id="rId7"/>
              </a:rPr>
              <a:t>http://es6-features.org/#ClassDefinition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839138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ES6 (JavaScript 2015) – What’s new?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ule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23013" y="858881"/>
            <a:ext cx="4434907" cy="11546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o global namespace pollution.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xpor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makes a function public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or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from lib/file some or all export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35177" y="870906"/>
            <a:ext cx="4599383" cy="267765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ES6 –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Modules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 lib/math.js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export function sum (x, y) { return x + y }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export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var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pi = 3.141593;</a:t>
            </a:r>
          </a:p>
          <a:p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 someApp.js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import * as math from "lib/math"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console.log("2</a:t>
            </a:r>
            <a:r>
              <a:rPr lang="el-GR" sz="1400" dirty="0">
                <a:solidFill>
                  <a:schemeClr val="bg1"/>
                </a:solidFill>
                <a:latin typeface="Source Code Pro"/>
              </a:rPr>
              <a:t>π = " +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math.sum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math.pi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math.pi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));</a:t>
            </a:r>
          </a:p>
          <a:p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 otherApp.js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import { sum, pi } from "lib/math"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console.log("2</a:t>
            </a:r>
            <a:r>
              <a:rPr lang="el-GR" sz="1400" dirty="0">
                <a:solidFill>
                  <a:schemeClr val="bg1"/>
                </a:solidFill>
                <a:latin typeface="Source Code Pro"/>
              </a:rPr>
              <a:t>π = " + 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sum(pi, pi));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647525" y="5945483"/>
            <a:ext cx="35520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hlinkClick r:id="rId7"/>
              </a:rPr>
              <a:t>http://es6-features.org/#ValueExportImport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033548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algn="ctr" defTabSz="895350" eaLnBrk="0" hangingPunct="0">
              <a:defRPr/>
            </a:pPr>
            <a:r>
              <a:rPr lang="en-US" sz="24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– Browser Support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14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rowser Support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&lt;no-script&gt;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381104" y="985448"/>
            <a:ext cx="4403911" cy="393954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present content when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javascript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is OFF</a:t>
            </a:r>
          </a:p>
          <a:p>
            <a:r>
              <a:rPr lang="en-US" sz="1600" dirty="0">
                <a:solidFill>
                  <a:schemeClr val="bg1"/>
                </a:solidFill>
              </a:rPr>
              <a:t>&lt;</a:t>
            </a:r>
            <a:r>
              <a:rPr lang="en-US" sz="1600" dirty="0" err="1">
                <a:solidFill>
                  <a:schemeClr val="bg1"/>
                </a:solidFill>
              </a:rPr>
              <a:t>noscript</a:t>
            </a:r>
            <a:r>
              <a:rPr lang="en-US" sz="1600" dirty="0">
                <a:solidFill>
                  <a:schemeClr val="bg1"/>
                </a:solidFill>
              </a:rPr>
              <a:t>&gt; </a:t>
            </a:r>
            <a:r>
              <a:rPr lang="en-US" sz="1600" dirty="0" smtClean="0">
                <a:solidFill>
                  <a:schemeClr val="bg1"/>
                </a:solidFill>
              </a:rPr>
              <a:t/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&lt;!-- </a:t>
            </a:r>
            <a:r>
              <a:rPr lang="en-US" sz="1600" dirty="0">
                <a:solidFill>
                  <a:schemeClr val="bg1"/>
                </a:solidFill>
              </a:rPr>
              <a:t>anchor linking to external file --&gt; </a:t>
            </a:r>
            <a:r>
              <a:rPr lang="en-US" sz="1600" dirty="0" smtClean="0">
                <a:solidFill>
                  <a:schemeClr val="bg1"/>
                </a:solidFill>
              </a:rPr>
              <a:t/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&lt;</a:t>
            </a:r>
            <a:r>
              <a:rPr lang="en-US" sz="1600" dirty="0">
                <a:solidFill>
                  <a:schemeClr val="bg1"/>
                </a:solidFill>
              </a:rPr>
              <a:t>a </a:t>
            </a:r>
            <a:r>
              <a:rPr lang="en-US" sz="1600" dirty="0" err="1">
                <a:solidFill>
                  <a:schemeClr val="bg1"/>
                </a:solidFill>
              </a:rPr>
              <a:t>href</a:t>
            </a:r>
            <a:r>
              <a:rPr lang="en-US" sz="1600" dirty="0">
                <a:solidFill>
                  <a:schemeClr val="bg1"/>
                </a:solidFill>
              </a:rPr>
              <a:t>="http://www.mozilla.com/"&gt;External Link&lt;/a&gt; </a:t>
            </a:r>
            <a:r>
              <a:rPr lang="en-US" sz="1600" dirty="0" smtClean="0">
                <a:solidFill>
                  <a:schemeClr val="bg1"/>
                </a:solidFill>
              </a:rPr>
              <a:t/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&lt;/</a:t>
            </a:r>
            <a:r>
              <a:rPr lang="en-US" sz="1600" dirty="0" err="1">
                <a:solidFill>
                  <a:schemeClr val="bg1"/>
                </a:solidFill>
              </a:rPr>
              <a:t>noscript</a:t>
            </a:r>
            <a:r>
              <a:rPr lang="en-US" sz="1600" dirty="0">
                <a:solidFill>
                  <a:schemeClr val="bg1"/>
                </a:solidFill>
              </a:rPr>
              <a:t>&gt; </a:t>
            </a:r>
            <a:r>
              <a:rPr lang="en-US" sz="1600" dirty="0" smtClean="0">
                <a:solidFill>
                  <a:schemeClr val="bg1"/>
                </a:solidFill>
              </a:rPr>
              <a:t/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&lt;</a:t>
            </a:r>
            <a:r>
              <a:rPr lang="en-US" sz="1600" dirty="0">
                <a:solidFill>
                  <a:schemeClr val="bg1"/>
                </a:solidFill>
              </a:rPr>
              <a:t>p&gt;Rocks!&lt;/p</a:t>
            </a:r>
            <a:r>
              <a:rPr lang="en-US" sz="1600" dirty="0" smtClean="0">
                <a:solidFill>
                  <a:schemeClr val="bg1"/>
                </a:solidFill>
              </a:rPr>
              <a:t>&gt;</a:t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400" dirty="0">
                <a:solidFill>
                  <a:srgbClr val="1AB076"/>
                </a:solidFill>
                <a:latin typeface="Source Code Pro"/>
              </a:rPr>
              <a:t>// option 2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&lt;body&gt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&lt;</a:t>
            </a:r>
            <a:r>
              <a:rPr lang="en-US" sz="1400" dirty="0">
                <a:solidFill>
                  <a:schemeClr val="bg1"/>
                </a:solidFill>
              </a:rPr>
              <a:t>div id="</a:t>
            </a:r>
            <a:r>
              <a:rPr lang="en-US" sz="1400" dirty="0" err="1">
                <a:solidFill>
                  <a:schemeClr val="bg1"/>
                </a:solidFill>
              </a:rPr>
              <a:t>divMain</a:t>
            </a:r>
            <a:r>
              <a:rPr lang="en-US" sz="1400" dirty="0">
                <a:solidFill>
                  <a:schemeClr val="bg1"/>
                </a:solidFill>
              </a:rPr>
              <a:t>" style="display: none"&gt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 This </a:t>
            </a:r>
            <a:r>
              <a:rPr lang="en-US" sz="1400" dirty="0">
                <a:solidFill>
                  <a:schemeClr val="bg1"/>
                </a:solidFill>
              </a:rPr>
              <a:t>is content. &lt;/div&gt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&lt;</a:t>
            </a:r>
            <a:r>
              <a:rPr lang="en-US" sz="1400" dirty="0" err="1">
                <a:solidFill>
                  <a:schemeClr val="bg1"/>
                </a:solidFill>
              </a:rPr>
              <a:t>noscript</a:t>
            </a:r>
            <a:r>
              <a:rPr lang="en-US" sz="1400" dirty="0">
                <a:solidFill>
                  <a:schemeClr val="bg1"/>
                </a:solidFill>
              </a:rPr>
              <a:t>&gt; JS not enabled &lt;/</a:t>
            </a:r>
            <a:r>
              <a:rPr lang="en-US" sz="1400" dirty="0" err="1">
                <a:solidFill>
                  <a:schemeClr val="bg1"/>
                </a:solidFill>
              </a:rPr>
              <a:t>noscript</a:t>
            </a:r>
            <a:r>
              <a:rPr lang="en-US" sz="1400" dirty="0">
                <a:solidFill>
                  <a:schemeClr val="bg1"/>
                </a:solidFill>
              </a:rPr>
              <a:t>&gt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&lt;</a:t>
            </a:r>
            <a:r>
              <a:rPr lang="en-US" sz="1400" dirty="0">
                <a:solidFill>
                  <a:schemeClr val="bg1"/>
                </a:solidFill>
              </a:rPr>
              <a:t>script&gt; </a:t>
            </a:r>
            <a:r>
              <a:rPr lang="en-US" sz="1400" dirty="0" smtClean="0">
                <a:solidFill>
                  <a:schemeClr val="bg1"/>
                </a:solidFill>
              </a:rPr>
              <a:t>  </a:t>
            </a:r>
            <a:r>
              <a:rPr lang="en-US" sz="1400" dirty="0" err="1" smtClean="0">
                <a:solidFill>
                  <a:schemeClr val="bg1"/>
                </a:solidFill>
              </a:rPr>
              <a:t>document.getElementById</a:t>
            </a:r>
            <a:r>
              <a:rPr lang="en-US" sz="1400" dirty="0">
                <a:solidFill>
                  <a:schemeClr val="bg1"/>
                </a:solidFill>
              </a:rPr>
              <a:t>("</a:t>
            </a:r>
            <a:r>
              <a:rPr lang="en-US" sz="1400" dirty="0" err="1">
                <a:solidFill>
                  <a:schemeClr val="bg1"/>
                </a:solidFill>
              </a:rPr>
              <a:t>divMain</a:t>
            </a:r>
            <a:r>
              <a:rPr lang="en-US" sz="1400" dirty="0">
                <a:solidFill>
                  <a:schemeClr val="bg1"/>
                </a:solidFill>
              </a:rPr>
              <a:t>").</a:t>
            </a:r>
            <a:r>
              <a:rPr lang="en-US" sz="1400" dirty="0" err="1">
                <a:solidFill>
                  <a:schemeClr val="bg1"/>
                </a:solidFill>
              </a:rPr>
              <a:t>style.display</a:t>
            </a:r>
            <a:r>
              <a:rPr lang="en-US" sz="1400" dirty="0">
                <a:solidFill>
                  <a:schemeClr val="bg1"/>
                </a:solidFill>
              </a:rPr>
              <a:t> = "block"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&lt;/</a:t>
            </a:r>
            <a:r>
              <a:rPr lang="en-US" sz="1400" dirty="0">
                <a:solidFill>
                  <a:schemeClr val="bg1"/>
                </a:solidFill>
              </a:rPr>
              <a:t>script&gt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&lt;/</a:t>
            </a:r>
            <a:r>
              <a:rPr lang="en-US" sz="1400" dirty="0">
                <a:solidFill>
                  <a:schemeClr val="bg1"/>
                </a:solidFill>
              </a:rPr>
              <a:t>body&gt;</a:t>
            </a:r>
            <a:endParaRPr lang="en-US" sz="16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4701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 HTML element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pper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when ES/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avascrip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s OFF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n present HTML content.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381104" y="4966288"/>
            <a:ext cx="4403911" cy="129266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IE9 – add ES5 missing features, objects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&lt;!--[if </a:t>
            </a:r>
            <a:r>
              <a:rPr lang="en-US" sz="1600" dirty="0" err="1">
                <a:solidFill>
                  <a:schemeClr val="bg1"/>
                </a:solidFill>
              </a:rPr>
              <a:t>lt</a:t>
            </a:r>
            <a:r>
              <a:rPr lang="en-US" sz="1600" dirty="0">
                <a:solidFill>
                  <a:schemeClr val="bg1"/>
                </a:solidFill>
              </a:rPr>
              <a:t> IE 9</a:t>
            </a:r>
            <a:r>
              <a:rPr lang="en-US" sz="1600" dirty="0" smtClean="0">
                <a:solidFill>
                  <a:schemeClr val="bg1"/>
                </a:solidFill>
              </a:rPr>
              <a:t>]&gt;</a:t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   &lt;</a:t>
            </a:r>
            <a:r>
              <a:rPr lang="en-US" sz="1600" dirty="0">
                <a:solidFill>
                  <a:schemeClr val="bg1"/>
                </a:solidFill>
              </a:rPr>
              <a:t>script </a:t>
            </a:r>
            <a:r>
              <a:rPr lang="en-US" sz="1600" dirty="0" err="1">
                <a:solidFill>
                  <a:schemeClr val="bg1"/>
                </a:solidFill>
              </a:rPr>
              <a:t>src</a:t>
            </a:r>
            <a:r>
              <a:rPr lang="en-US" sz="1600" dirty="0" smtClean="0">
                <a:solidFill>
                  <a:schemeClr val="bg1"/>
                </a:solidFill>
              </a:rPr>
              <a:t>="es5shim.min.js"&gt;</a:t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   &lt;/</a:t>
            </a:r>
            <a:r>
              <a:rPr lang="en-US" sz="1600" dirty="0">
                <a:solidFill>
                  <a:schemeClr val="bg1"/>
                </a:solidFill>
              </a:rPr>
              <a:t>script</a:t>
            </a:r>
            <a:r>
              <a:rPr lang="en-US" sz="1600" dirty="0" smtClean="0">
                <a:solidFill>
                  <a:schemeClr val="bg1"/>
                </a:solidFill>
              </a:rPr>
              <a:t>&gt;</a:t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&lt;![</a:t>
            </a:r>
            <a:r>
              <a:rPr lang="en-US" sz="1600" dirty="0" err="1">
                <a:solidFill>
                  <a:schemeClr val="bg1"/>
                </a:solidFill>
              </a:rPr>
              <a:t>endif</a:t>
            </a:r>
            <a:r>
              <a:rPr lang="en-US" sz="1600" dirty="0">
                <a:solidFill>
                  <a:schemeClr val="bg1"/>
                </a:solidFill>
              </a:rPr>
              <a:t>]--&gt;</a:t>
            </a:r>
            <a:endParaRPr lang="en-US" sz="16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58477" y="2660805"/>
            <a:ext cx="406699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Browser shims</a:t>
            </a:r>
          </a:p>
        </p:txBody>
      </p:sp>
      <p:sp>
        <p:nvSpPr>
          <p:cNvPr id="2" name="Rectangle 1"/>
          <p:cNvSpPr/>
          <p:nvPr/>
        </p:nvSpPr>
        <p:spPr>
          <a:xfrm>
            <a:off x="135177" y="2524331"/>
            <a:ext cx="4479925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00" dirty="0">
                <a:hlinkClick r:id="rId7"/>
              </a:rPr>
              <a:t>https://developer.mozilla.org/en/docs/Web/HTML/Element/noscript</a:t>
            </a:r>
            <a:endParaRPr lang="he-IL" sz="1000" dirty="0"/>
          </a:p>
        </p:txBody>
      </p:sp>
      <p:sp>
        <p:nvSpPr>
          <p:cNvPr id="25" name="TextBox 24"/>
          <p:cNvSpPr txBox="1"/>
          <p:nvPr/>
        </p:nvSpPr>
        <p:spPr>
          <a:xfrm>
            <a:off x="-376451" y="3301412"/>
            <a:ext cx="4701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ome browser lack full ES5 support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hims help us “fill the gap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s5-shim.j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3805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algn="ctr" defTabSz="895350" eaLnBrk="0" hangingPunct="0">
              <a:defRPr/>
            </a:pPr>
            <a:r>
              <a:rPr lang="en-US" sz="24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asics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442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algn="ctr" defTabSz="895350" eaLnBrk="0" hangingPunct="0">
              <a:defRPr/>
            </a:pPr>
            <a:r>
              <a:rPr lang="en-US" sz="24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/</a:t>
            </a:r>
            <a:r>
              <a:rPr lang="en-US" sz="24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EcmaScript</a:t>
            </a: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/</a:t>
            </a:r>
            <a:r>
              <a:rPr lang="en-US" sz="24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TypeScript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3007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b="1" kern="0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/</a:t>
            </a:r>
            <a:r>
              <a:rPr lang="en-US" sz="2000" b="1" kern="0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EcmaScript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/</a:t>
            </a:r>
            <a:r>
              <a:rPr lang="en-US" sz="2000" b="1" kern="0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cript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How </a:t>
            </a: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, </a:t>
            </a: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Ecm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and </a:t>
            </a: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complement each othe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663241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S5 (JavaScript 2015) – Supported on Modern Browser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S6 adds classes + modules…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ypeScrip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adds types + annotations…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066445367"/>
              </p:ext>
            </p:extLst>
          </p:nvPr>
        </p:nvGraphicFramePr>
        <p:xfrm>
          <a:off x="3495093" y="2109224"/>
          <a:ext cx="5974292" cy="39828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" name="Rectangle 3"/>
          <p:cNvSpPr/>
          <p:nvPr/>
        </p:nvSpPr>
        <p:spPr>
          <a:xfrm>
            <a:off x="135177" y="4891756"/>
            <a:ext cx="4479925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400" i="1" dirty="0" smtClean="0">
                <a:solidFill>
                  <a:srgbClr val="595352"/>
                </a:solidFill>
                <a:latin typeface="Vollkorn"/>
              </a:rPr>
              <a:t>“</a:t>
            </a:r>
            <a:r>
              <a:rPr lang="en-US" sz="2400" i="1" dirty="0" err="1" smtClean="0">
                <a:solidFill>
                  <a:srgbClr val="595352"/>
                </a:solidFill>
                <a:latin typeface="Vollkorn"/>
              </a:rPr>
              <a:t>TypeScript</a:t>
            </a:r>
            <a:r>
              <a:rPr lang="en-US" sz="2400" i="1" dirty="0" smtClean="0">
                <a:solidFill>
                  <a:srgbClr val="595352"/>
                </a:solidFill>
                <a:latin typeface="Vollkorn"/>
              </a:rPr>
              <a:t> </a:t>
            </a:r>
            <a:r>
              <a:rPr lang="en-US" sz="2400" i="1" dirty="0">
                <a:solidFill>
                  <a:srgbClr val="595352"/>
                </a:solidFill>
                <a:latin typeface="Vollkorn"/>
              </a:rPr>
              <a:t>is a typed superset of JavaScript that compiles to plain JavaScript.” </a:t>
            </a:r>
            <a:r>
              <a:rPr lang="en-US" sz="1050" i="1" dirty="0">
                <a:solidFill>
                  <a:srgbClr val="595352"/>
                </a:solidFill>
                <a:latin typeface="Vollkorn"/>
                <a:hlinkClick r:id="rId12"/>
              </a:rPr>
              <a:t>http://www.typescriptlang.org/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696666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-376450" y="1045892"/>
            <a:ext cx="905309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5"/>
              </a:rPr>
              <a:t>https://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5"/>
              </a:rPr>
              <a:t>www.typescriptlang.org/play/index.html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ypes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lasses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heritance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Generics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nions and Type Guards</a:t>
            </a: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cript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– Playground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57538" y="3343052"/>
            <a:ext cx="6446361" cy="2916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963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cript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– Development Environmen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32824" y="3771327"/>
            <a:ext cx="4403911" cy="55399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install typescript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&gt; </a:t>
            </a:r>
            <a:r>
              <a:rPr lang="en-US" sz="1600" dirty="0" err="1" smtClean="0">
                <a:solidFill>
                  <a:schemeClr val="bg1"/>
                </a:solidFill>
              </a:rPr>
              <a:t>npm</a:t>
            </a:r>
            <a:r>
              <a:rPr lang="en-US" sz="1600" dirty="0" smtClean="0">
                <a:solidFill>
                  <a:schemeClr val="bg1"/>
                </a:solidFill>
              </a:rPr>
              <a:t> install –g typescript</a:t>
            </a:r>
            <a:endParaRPr lang="en-US" sz="16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4701921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>https://git-scm.com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>/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  <a:hlinkClick r:id="rId7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>http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>://nodejs.org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>/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 (stable release 4.x)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pgrade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pm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o version 3.x</a:t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stall typescript</a:t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stall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ypings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32823" y="5137283"/>
            <a:ext cx="4403911" cy="55399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install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typings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&gt; </a:t>
            </a:r>
            <a:r>
              <a:rPr lang="en-US" sz="1600" dirty="0" err="1" smtClean="0">
                <a:solidFill>
                  <a:schemeClr val="bg1"/>
                </a:solidFill>
              </a:rPr>
              <a:t>npm</a:t>
            </a:r>
            <a:r>
              <a:rPr lang="en-US" sz="1600" dirty="0" smtClean="0">
                <a:solidFill>
                  <a:schemeClr val="bg1"/>
                </a:solidFill>
              </a:rPr>
              <a:t> install –g </a:t>
            </a:r>
            <a:r>
              <a:rPr lang="en-US" sz="1600" dirty="0" err="1" smtClean="0">
                <a:solidFill>
                  <a:schemeClr val="bg1"/>
                </a:solidFill>
              </a:rPr>
              <a:t>typings</a:t>
            </a:r>
            <a:endParaRPr lang="en-US" sz="16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32822" y="2296440"/>
            <a:ext cx="4403911" cy="55399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update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npm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to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npm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3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&gt; </a:t>
            </a:r>
            <a:r>
              <a:rPr lang="en-US" sz="1600" dirty="0" err="1" smtClean="0">
                <a:solidFill>
                  <a:schemeClr val="bg1"/>
                </a:solidFill>
              </a:rPr>
              <a:t>npm</a:t>
            </a:r>
            <a:r>
              <a:rPr lang="en-US" sz="1600" dirty="0" smtClean="0">
                <a:solidFill>
                  <a:schemeClr val="bg1"/>
                </a:solidFill>
              </a:rPr>
              <a:t> install –g </a:t>
            </a:r>
            <a:r>
              <a:rPr lang="en-US" sz="1600" dirty="0" err="1" smtClean="0">
                <a:solidFill>
                  <a:schemeClr val="bg1"/>
                </a:solidFill>
              </a:rPr>
              <a:t>npm</a:t>
            </a:r>
            <a:endParaRPr lang="en-US" sz="1600" dirty="0" smtClean="0">
              <a:solidFill>
                <a:schemeClr val="bg1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2137229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cript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– Editors and IDE’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8979684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>https://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>code.visualstudio.com – VS Code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ast Editor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ebugger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Gi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ntegration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avascrip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support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ypescript support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ulti-Platform support (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in,OSX,Linux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</a:b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  <a:hlinkClick r:id="rId7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>https://www.jetbrains.com/webstorm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>/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ull IDE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  <a:hlinkClick r:id="rId7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isual Studio 2015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tom (GitHub)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d more…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0923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cript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Lets write some </a:t>
            </a: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cript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381104" y="1096836"/>
            <a:ext cx="4403911" cy="129266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TypeScript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compiler – create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config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file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&gt; </a:t>
            </a:r>
            <a:r>
              <a:rPr lang="en-US" sz="1600" dirty="0" err="1" smtClean="0">
                <a:solidFill>
                  <a:schemeClr val="bg1"/>
                </a:solidFill>
              </a:rPr>
              <a:t>mkdir</a:t>
            </a:r>
            <a:r>
              <a:rPr lang="en-US" sz="1600" dirty="0" smtClean="0">
                <a:solidFill>
                  <a:schemeClr val="bg1"/>
                </a:solidFill>
              </a:rPr>
              <a:t> typescript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&gt; cd typescript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&gt; </a:t>
            </a:r>
            <a:r>
              <a:rPr lang="en-US" sz="1600" dirty="0" err="1" smtClean="0">
                <a:solidFill>
                  <a:schemeClr val="bg1"/>
                </a:solidFill>
              </a:rPr>
              <a:t>tsc</a:t>
            </a:r>
            <a:r>
              <a:rPr lang="en-US" sz="1600" dirty="0" smtClean="0">
                <a:solidFill>
                  <a:schemeClr val="bg1"/>
                </a:solidFill>
              </a:rPr>
              <a:t> --</a:t>
            </a:r>
            <a:r>
              <a:rPr lang="en-US" sz="1600" dirty="0" err="1" smtClean="0">
                <a:solidFill>
                  <a:schemeClr val="bg1"/>
                </a:solidFill>
              </a:rPr>
              <a:t>init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&gt; code 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470192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eate a Project Folder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d into the folder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eate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ypeScrip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nfig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file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pen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SCode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380992" y="4181856"/>
            <a:ext cx="4403911" cy="55399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run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TypeScript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compilter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in watch mode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&gt; </a:t>
            </a:r>
            <a:r>
              <a:rPr lang="en-US" sz="1600" dirty="0" err="1" smtClean="0">
                <a:solidFill>
                  <a:schemeClr val="bg1"/>
                </a:solidFill>
              </a:rPr>
              <a:t>tsc</a:t>
            </a:r>
            <a:r>
              <a:rPr lang="en-US" sz="1600" dirty="0" smtClean="0">
                <a:solidFill>
                  <a:schemeClr val="bg1"/>
                </a:solidFill>
              </a:rPr>
              <a:t> -w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-376450" y="4053252"/>
            <a:ext cx="470192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d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layground.t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file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un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wc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–w (watch)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SCod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open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layground.t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and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side-by-sid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4752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-376450" y="1045892"/>
            <a:ext cx="870765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et types for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et Type on input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arameter</a:t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et Type on function return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lue</a:t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hlinkClick r:id="rId5"/>
              </a:rPr>
              <a:t>https</a:t>
            </a:r>
            <a:r>
              <a:rPr lang="en-US" sz="1600" dirty="0">
                <a:hlinkClick r:id="rId5"/>
              </a:rPr>
              <a:t>://www.typescriptlang.org/docs/handbook/basic-types.html</a:t>
            </a:r>
            <a:endParaRPr lang="en-US" sz="1600" dirty="0"/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cript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381104" y="1096836"/>
            <a:ext cx="4403911" cy="153888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string Type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let </a:t>
            </a:r>
            <a:r>
              <a:rPr lang="en-US" sz="1600" dirty="0" err="1" smtClean="0">
                <a:solidFill>
                  <a:schemeClr val="bg1"/>
                </a:solidFill>
              </a:rPr>
              <a:t>myString</a:t>
            </a:r>
            <a:r>
              <a:rPr lang="en-US" sz="1600" dirty="0" smtClean="0">
                <a:solidFill>
                  <a:schemeClr val="bg1"/>
                </a:solidFill>
              </a:rPr>
              <a:t> : string;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let </a:t>
            </a:r>
            <a:r>
              <a:rPr lang="en-US" sz="1600" dirty="0" err="1" smtClean="0">
                <a:solidFill>
                  <a:schemeClr val="bg1"/>
                </a:solidFill>
              </a:rPr>
              <a:t>myNum</a:t>
            </a:r>
            <a:r>
              <a:rPr lang="en-US" sz="1600" dirty="0" smtClean="0">
                <a:solidFill>
                  <a:schemeClr val="bg1"/>
                </a:solidFill>
              </a:rPr>
              <a:t> : number;</a:t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/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/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err="1" smtClean="0">
                <a:solidFill>
                  <a:schemeClr val="bg1"/>
                </a:solidFill>
              </a:rPr>
              <a:t>myNum</a:t>
            </a:r>
            <a:r>
              <a:rPr lang="en-US" sz="1600" dirty="0" smtClean="0">
                <a:solidFill>
                  <a:schemeClr val="bg1"/>
                </a:solidFill>
              </a:rPr>
              <a:t> = “hello” 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// erro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381104" y="2803716"/>
            <a:ext cx="4403911" cy="104644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function Type on input parameter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Function </a:t>
            </a:r>
            <a:r>
              <a:rPr lang="en-US" sz="1600" dirty="0" err="1" smtClean="0">
                <a:solidFill>
                  <a:schemeClr val="bg1"/>
                </a:solidFill>
              </a:rPr>
              <a:t>myFunc</a:t>
            </a:r>
            <a:r>
              <a:rPr lang="en-US" sz="1600" dirty="0" smtClean="0">
                <a:solidFill>
                  <a:schemeClr val="bg1"/>
                </a:solidFill>
              </a:rPr>
              <a:t>(name: string){ }</a:t>
            </a:r>
            <a:br>
              <a:rPr lang="en-US" sz="1600" dirty="0" smtClean="0">
                <a:solidFill>
                  <a:schemeClr val="bg1"/>
                </a:solidFill>
              </a:rPr>
            </a:b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err="1" smtClean="0">
                <a:solidFill>
                  <a:schemeClr val="bg1"/>
                </a:solidFill>
              </a:rPr>
              <a:t>myFunc</a:t>
            </a:r>
            <a:r>
              <a:rPr lang="en-US" sz="1600" dirty="0" smtClean="0">
                <a:solidFill>
                  <a:schemeClr val="bg1"/>
                </a:solidFill>
              </a:rPr>
              <a:t>(1) 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error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391264" y="4154996"/>
            <a:ext cx="4403911" cy="129266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function Type on return value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Function </a:t>
            </a:r>
            <a:r>
              <a:rPr lang="en-US" sz="1600" dirty="0" err="1" smtClean="0">
                <a:solidFill>
                  <a:schemeClr val="bg1"/>
                </a:solidFill>
              </a:rPr>
              <a:t>myFunc</a:t>
            </a:r>
            <a:r>
              <a:rPr lang="en-US" sz="1600" dirty="0" smtClean="0">
                <a:solidFill>
                  <a:schemeClr val="bg1"/>
                </a:solidFill>
              </a:rPr>
              <a:t>(name: string) </a:t>
            </a:r>
            <a:r>
              <a:rPr lang="en-US" sz="1600" b="1" dirty="0" smtClean="0">
                <a:solidFill>
                  <a:schemeClr val="bg1"/>
                </a:solidFill>
              </a:rPr>
              <a:t>: string</a:t>
            </a:r>
            <a:r>
              <a:rPr lang="en-US" sz="1600" dirty="0" smtClean="0">
                <a:solidFill>
                  <a:schemeClr val="bg1"/>
                </a:solidFill>
              </a:rPr>
              <a:t> { }</a:t>
            </a:r>
            <a:br>
              <a:rPr lang="en-US" sz="1600" dirty="0" smtClean="0">
                <a:solidFill>
                  <a:schemeClr val="bg1"/>
                </a:solidFill>
              </a:rPr>
            </a:b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let result: number;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result = </a:t>
            </a:r>
            <a:r>
              <a:rPr lang="en-US" sz="1600" dirty="0" err="1" smtClean="0">
                <a:solidFill>
                  <a:schemeClr val="bg1"/>
                </a:solidFill>
              </a:rPr>
              <a:t>myFunc</a:t>
            </a:r>
            <a:r>
              <a:rPr lang="en-US" sz="1600" dirty="0" smtClean="0">
                <a:solidFill>
                  <a:schemeClr val="bg1"/>
                </a:solidFill>
              </a:rPr>
              <a:t>(“one”) 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error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530695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/>
          <p:cNvSpPr/>
          <p:nvPr/>
        </p:nvSpPr>
        <p:spPr>
          <a:xfrm>
            <a:off x="0" y="5504688"/>
            <a:ext cx="8961438" cy="80543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/>
        </p:nvSpPr>
        <p:spPr>
          <a:xfrm>
            <a:off x="2151401" y="5729278"/>
            <a:ext cx="46586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</a:t>
            </a:r>
            <a:endParaRPr lang="en-US" sz="16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endParaRPr lang="en-US" sz="12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6190" y="66692"/>
            <a:ext cx="8566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000000"/>
                </a:solidFill>
                <a:latin typeface="Open Sans"/>
              </a:rPr>
              <a:t>Resources</a:t>
            </a:r>
            <a:endParaRPr lang="en-US" sz="2400" dirty="0"/>
          </a:p>
        </p:txBody>
      </p:sp>
      <p:sp>
        <p:nvSpPr>
          <p:cNvPr id="14" name="Rectangle 13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6190" y="951785"/>
            <a:ext cx="6593846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ee </a:t>
            </a:r>
            <a:r>
              <a:rPr lang="en-US" sz="1600" dirty="0" err="1" smtClean="0"/>
              <a:t>Javascript</a:t>
            </a:r>
            <a:r>
              <a:rPr lang="en-US" sz="1600" dirty="0" smtClean="0"/>
              <a:t> Books: </a:t>
            </a:r>
            <a:r>
              <a:rPr lang="en-US" sz="1600" dirty="0" smtClean="0">
                <a:hlinkClick r:id="rId7"/>
              </a:rPr>
              <a:t>http://jsbooks.revolunet.com/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JS DOM/HTML: </a:t>
            </a:r>
            <a:r>
              <a:rPr lang="en-US" sz="1600" dirty="0" smtClean="0">
                <a:hlinkClick r:id="rId8"/>
              </a:rPr>
              <a:t>http://domenlightenment.com/</a:t>
            </a:r>
            <a:r>
              <a:rPr lang="en-US" sz="1600" dirty="0" smtClean="0"/>
              <a:t/>
            </a:r>
            <a:br>
              <a:rPr lang="en-US" sz="1600" dirty="0" smtClean="0"/>
            </a:b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 smtClean="0"/>
              <a:t>Javascript</a:t>
            </a:r>
            <a:r>
              <a:rPr lang="en-US" sz="1600" dirty="0"/>
              <a:t> - Cheat Sheet </a:t>
            </a:r>
            <a:r>
              <a:rPr lang="en-US" sz="1600" dirty="0">
                <a:hlinkClick r:id="rId9"/>
              </a:rPr>
              <a:t>http://overapi.com/javascript</a:t>
            </a:r>
            <a:r>
              <a:rPr lang="en-US" sz="1600" dirty="0" smtClean="0">
                <a:hlinkClick r:id="rId9"/>
              </a:rPr>
              <a:t>/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OM – </a:t>
            </a:r>
            <a:r>
              <a:rPr lang="en-US" sz="1600" dirty="0"/>
              <a:t>Cheat Sheet </a:t>
            </a:r>
            <a:r>
              <a:rPr lang="en-US" sz="1600" dirty="0">
                <a:hlinkClick r:id="rId10"/>
              </a:rPr>
              <a:t>http://overapi.com/html-dom</a:t>
            </a:r>
            <a:r>
              <a:rPr lang="en-US" sz="1600" dirty="0" smtClean="0">
                <a:hlinkClick r:id="rId10"/>
              </a:rPr>
              <a:t>/</a:t>
            </a:r>
            <a:endParaRPr lang="en-US" sz="1600" dirty="0" smtClean="0"/>
          </a:p>
          <a:p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 smtClean="0"/>
              <a:t>TypeScript</a:t>
            </a:r>
            <a:r>
              <a:rPr lang="en-US" sz="1600" dirty="0"/>
              <a:t> - </a:t>
            </a:r>
            <a:r>
              <a:rPr lang="en-US" sz="1600" dirty="0">
                <a:hlinkClick r:id="rId11"/>
              </a:rPr>
              <a:t>https://www.typescriptlang.org</a:t>
            </a:r>
            <a:r>
              <a:rPr lang="en-US" sz="1600" dirty="0" smtClean="0">
                <a:hlinkClick r:id="rId11"/>
              </a:rPr>
              <a:t>/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/>
            </a:r>
            <a:br>
              <a:rPr lang="en-US" sz="1600" dirty="0" smtClean="0"/>
            </a:b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Type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403912" y="1127629"/>
            <a:ext cx="4403911" cy="504753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err="1">
                <a:solidFill>
                  <a:srgbClr val="FFFFFF"/>
                </a:solidFill>
                <a:latin typeface="Source Code Pro"/>
              </a:rPr>
              <a:t>v</a:t>
            </a:r>
            <a:r>
              <a:rPr lang="en-US" sz="1400" b="0" i="0" dirty="0" err="1" smtClean="0">
                <a:solidFill>
                  <a:srgbClr val="FFFFFF"/>
                </a:solidFill>
                <a:effectLst/>
                <a:latin typeface="Source Code Pro"/>
              </a:rPr>
              <a:t>ar</a:t>
            </a:r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a = null;</a:t>
            </a:r>
          </a:p>
          <a:p>
            <a:endParaRPr lang="en-US" sz="1400" b="0" i="0" dirty="0" smtClean="0">
              <a:solidFill>
                <a:srgbClr val="FFFFFF"/>
              </a:solidFill>
              <a:effectLst/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a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=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b;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          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</a:t>
            </a:r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b</a:t>
            </a:r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is</a:t>
            </a:r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undefined</a:t>
            </a:r>
          </a:p>
          <a:p>
            <a:endParaRPr lang="en-US" sz="1400" dirty="0">
              <a:solidFill>
                <a:srgbClr val="FFFFFF"/>
              </a:solidFill>
              <a:latin typeface="Source Code Pro"/>
              <a:sym typeface="Wingdings" pitchFamily="2" charset="2"/>
            </a:endParaRPr>
          </a:p>
          <a:p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s = ‘foo’;    or  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s = “foo”;</a:t>
            </a:r>
          </a:p>
          <a:p>
            <a:endParaRPr lang="en-US" sz="1400" dirty="0" smtClean="0">
              <a:solidFill>
                <a:srgbClr val="FFFFFF"/>
              </a:solidFill>
              <a:latin typeface="Source Code Pro"/>
              <a:sym typeface="Wingdings" pitchFamily="2" charset="2"/>
            </a:endParaRPr>
          </a:p>
          <a:p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n = 1;</a:t>
            </a:r>
          </a:p>
          <a:p>
            <a:endParaRPr lang="en-US" sz="1400" dirty="0" smtClean="0">
              <a:solidFill>
                <a:srgbClr val="FFFFFF"/>
              </a:solidFill>
              <a:latin typeface="Source Code Pro"/>
              <a:sym typeface="Wingdings" pitchFamily="2" charset="2"/>
            </a:endParaRPr>
          </a:p>
          <a:p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isTrue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= true;</a:t>
            </a:r>
          </a:p>
          <a:p>
            <a:endParaRPr lang="en-US" sz="1400" dirty="0">
              <a:solidFill>
                <a:srgbClr val="FFFFFF"/>
              </a:solidFill>
              <a:latin typeface="Source Code Pro"/>
              <a:sym typeface="Wingdings" pitchFamily="2" charset="2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Always boxed (reference type):</a:t>
            </a: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------------------------------------------</a:t>
            </a:r>
          </a:p>
          <a:p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ar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= [1,2,3];</a:t>
            </a:r>
          </a:p>
          <a:p>
            <a:endParaRPr lang="en-US" sz="1400" dirty="0" smtClean="0">
              <a:solidFill>
                <a:srgbClr val="FFFFFF"/>
              </a:solidFill>
              <a:latin typeface="Source Code Pro"/>
              <a:sym typeface="Wingdings" pitchFamily="2" charset="2"/>
            </a:endParaRPr>
          </a:p>
          <a:p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obj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= { };</a:t>
            </a:r>
          </a:p>
          <a:p>
            <a:endParaRPr lang="en-US" sz="1400" dirty="0">
              <a:solidFill>
                <a:srgbClr val="FFFFFF"/>
              </a:solidFill>
              <a:latin typeface="Source Code Pro"/>
              <a:sym typeface="Wingdings" pitchFamily="2" charset="2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function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MyFunc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(x){</a:t>
            </a:r>
          </a:p>
          <a:p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  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return</a:t>
            </a:r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x</a:t>
            </a:r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+</a:t>
            </a:r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1</a:t>
            </a:r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;</a:t>
            </a: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}</a:t>
            </a:r>
          </a:p>
          <a:p>
            <a:endParaRPr lang="en-US" sz="1400" dirty="0">
              <a:solidFill>
                <a:srgbClr val="FFFFFF"/>
              </a:solidFill>
              <a:latin typeface="Source Code Pro"/>
              <a:sym typeface="Wingdings" pitchFamily="2" charset="2"/>
            </a:endParaRPr>
          </a:p>
          <a:p>
            <a:r>
              <a:rPr lang="en-US" sz="1400" dirty="0" err="1" smtClean="0">
                <a:solidFill>
                  <a:srgbClr val="FFFFFF"/>
                </a:solidFill>
              </a:rPr>
              <a:t>var</a:t>
            </a:r>
            <a:r>
              <a:rPr lang="en-US" sz="1400" dirty="0" smtClean="0">
                <a:solidFill>
                  <a:srgbClr val="FFFFFF"/>
                </a:solidFill>
              </a:rPr>
              <a:t> f = function () {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  return arguments[0] + arguments[1]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}; </a:t>
            </a:r>
            <a:endParaRPr lang="en-US" sz="1400" dirty="0">
              <a:solidFill>
                <a:srgbClr val="FFFFFF"/>
              </a:solidFill>
              <a:latin typeface="Source Code Pro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-376450" y="1045892"/>
            <a:ext cx="4701921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ull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ndefined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ring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umber (floats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oolean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u="sng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lways</a:t>
            </a:r>
            <a:r>
              <a:rPr lang="en-US" sz="1600" u="sng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u="sng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oxed</a:t>
            </a:r>
            <a:r>
              <a:rPr lang="en-US" sz="1600" u="sng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u="sng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reference</a:t>
            </a:r>
            <a:r>
              <a:rPr lang="en-US" sz="1600" u="sng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u="sng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ypes</a:t>
            </a:r>
            <a:r>
              <a:rPr lang="en-US" sz="1600" u="sng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ect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gular Expression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unctions</a:t>
            </a:r>
          </a:p>
          <a:p>
            <a:pPr marL="1657350" lvl="3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guments (no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846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-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equalit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y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381104" y="985448"/>
            <a:ext cx="4403911" cy="203132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== is misleading, because all these are true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null == undefined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false == 0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false == ’’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’’ == 0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true == 1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true == ’1’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’1’ == 1 </a:t>
            </a:r>
            <a:endParaRPr lang="en-US" sz="1600" dirty="0" smtClean="0">
              <a:solidFill>
                <a:srgbClr val="FFFFFF"/>
              </a:solidFill>
              <a:latin typeface="Source Code Pro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376450" y="1045892"/>
            <a:ext cx="4701921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lways use === and !== (not ==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===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hecks value AND typ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ferential compar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oxed/by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f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ructural compare for non-boxed/by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l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ossibl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se for ==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heck null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D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ndefin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81104" y="3405605"/>
            <a:ext cx="4403911" cy="95410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possible use for ==</a:t>
            </a: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(x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==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null)</a:t>
            </a:r>
            <a:endParaRPr lang="en-US" sz="1400" dirty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Is like</a:t>
            </a: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(x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===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null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||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x === undefined)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1766403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-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Object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381104" y="985448"/>
            <a:ext cx="4403911" cy="80021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Objects</a:t>
            </a:r>
          </a:p>
          <a:p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</a:rPr>
              <a:t>obj</a:t>
            </a:r>
            <a:r>
              <a:rPr lang="en-US" sz="1600" dirty="0" smtClean="0">
                <a:solidFill>
                  <a:srgbClr val="FFFFFF"/>
                </a:solidFill>
              </a:rPr>
              <a:t> = { }; </a:t>
            </a:r>
          </a:p>
          <a:p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</a:rPr>
              <a:t>obj</a:t>
            </a:r>
            <a:r>
              <a:rPr lang="en-US" sz="1600" dirty="0" smtClean="0">
                <a:solidFill>
                  <a:srgbClr val="FFFFFF"/>
                </a:solidFill>
              </a:rPr>
              <a:t> = new Object();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-376450" y="1045892"/>
            <a:ext cx="470192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= { };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ec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a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operties: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.propA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= “shalom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[“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opA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”] = “shalom”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81104" y="3405605"/>
            <a:ext cx="4403911" cy="153888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iterate over objects properties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for (</a:t>
            </a:r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n in </a:t>
            </a:r>
            <a:r>
              <a:rPr lang="en-US" sz="1600" dirty="0" err="1" smtClean="0">
                <a:solidFill>
                  <a:srgbClr val="FFFFFF"/>
                </a:solidFill>
              </a:rPr>
              <a:t>obj</a:t>
            </a:r>
            <a:r>
              <a:rPr lang="en-US" sz="1600" dirty="0" smtClean="0">
                <a:solidFill>
                  <a:srgbClr val="FFFFFF"/>
                </a:solidFill>
              </a:rPr>
              <a:t>) { 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 </a:t>
            </a:r>
            <a:r>
              <a:rPr lang="en-US" sz="1600" dirty="0" smtClean="0">
                <a:solidFill>
                  <a:srgbClr val="FFFFFF"/>
                </a:solidFill>
              </a:rPr>
              <a:t>if (</a:t>
            </a:r>
            <a:r>
              <a:rPr lang="en-US" sz="1600" dirty="0" err="1" smtClean="0">
                <a:solidFill>
                  <a:srgbClr val="FFFFFF"/>
                </a:solidFill>
              </a:rPr>
              <a:t>obj.hasOwnProperty</a:t>
            </a:r>
            <a:r>
              <a:rPr lang="en-US" sz="1600" dirty="0" smtClean="0">
                <a:solidFill>
                  <a:srgbClr val="FFFFFF"/>
                </a:solidFill>
              </a:rPr>
              <a:t>(n)) {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   </a:t>
            </a:r>
            <a:r>
              <a:rPr lang="en-US" sz="1600" dirty="0" smtClean="0">
                <a:solidFill>
                  <a:srgbClr val="FFFFFF"/>
                </a:solidFill>
              </a:rPr>
              <a:t>console.log(</a:t>
            </a:r>
            <a:r>
              <a:rPr lang="en-US" sz="1600" dirty="0" err="1" smtClean="0">
                <a:solidFill>
                  <a:srgbClr val="FFFFFF"/>
                </a:solidFill>
              </a:rPr>
              <a:t>obj</a:t>
            </a:r>
            <a:r>
              <a:rPr lang="en-US" sz="1600" dirty="0" smtClean="0">
                <a:solidFill>
                  <a:srgbClr val="FFFFFF"/>
                </a:solidFill>
              </a:rPr>
              <a:t>[n]);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 </a:t>
            </a:r>
            <a:r>
              <a:rPr lang="en-US" sz="1600" dirty="0" smtClean="0">
                <a:solidFill>
                  <a:srgbClr val="FFFFFF"/>
                </a:solidFill>
              </a:rPr>
              <a:t>}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}</a:t>
            </a:r>
            <a:endParaRPr lang="en-US" sz="1600" dirty="0" smtClean="0">
              <a:solidFill>
                <a:srgbClr val="FFFFFF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4243330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-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rray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381104" y="985448"/>
            <a:ext cx="4403911" cy="178510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Arrays</a:t>
            </a:r>
          </a:p>
          <a:p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</a:rPr>
              <a:t>ar</a:t>
            </a:r>
            <a:r>
              <a:rPr lang="en-US" sz="1600" dirty="0" err="1">
                <a:solidFill>
                  <a:srgbClr val="FFFFFF"/>
                </a:solidFill>
              </a:rPr>
              <a:t>r</a:t>
            </a:r>
            <a:r>
              <a:rPr lang="en-US" sz="1600" dirty="0" smtClean="0">
                <a:solidFill>
                  <a:srgbClr val="FFFFFF"/>
                </a:solidFill>
              </a:rPr>
              <a:t> = [ ];   // empty</a:t>
            </a:r>
          </a:p>
          <a:p>
            <a:r>
              <a:rPr lang="en-US" sz="1600" dirty="0" err="1">
                <a:solidFill>
                  <a:srgbClr val="FFFFFF"/>
                </a:solidFill>
              </a:rPr>
              <a:t>v</a:t>
            </a:r>
            <a:r>
              <a:rPr lang="en-US" sz="1600" dirty="0" err="1" smtClean="0">
                <a:solidFill>
                  <a:srgbClr val="FFFFFF"/>
                </a:solidFill>
              </a:rPr>
              <a:t>ar</a:t>
            </a:r>
            <a:r>
              <a:rPr lang="en-US" sz="1600" dirty="0" smtClean="0">
                <a:solidFill>
                  <a:srgbClr val="FFFFFF"/>
                </a:solidFill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</a:rPr>
              <a:t>arr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=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new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Array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()</a:t>
            </a:r>
            <a:r>
              <a:rPr lang="en-US" sz="1600" dirty="0">
                <a:solidFill>
                  <a:srgbClr val="FFFFFF"/>
                </a:solidFill>
              </a:rPr>
              <a:t>;</a:t>
            </a:r>
            <a:endParaRPr lang="en-US" sz="1600" dirty="0" smtClean="0">
              <a:solidFill>
                <a:srgbClr val="FFFFFF"/>
              </a:solidFill>
            </a:endParaRPr>
          </a:p>
          <a:p>
            <a:endParaRPr lang="en-US" sz="1600" dirty="0">
              <a:solidFill>
                <a:srgbClr val="FFFFFF"/>
              </a:solidFill>
            </a:endParaRPr>
          </a:p>
          <a:p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</a:rPr>
              <a:t>arr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=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[1,2,3]; // array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of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numbers</a:t>
            </a:r>
          </a:p>
          <a:p>
            <a:endParaRPr lang="en-US" sz="1600" dirty="0">
              <a:solidFill>
                <a:srgbClr val="FFFFFF"/>
              </a:solidFill>
            </a:endParaRPr>
          </a:p>
          <a:p>
            <a:r>
              <a:rPr lang="en-US" sz="1600" dirty="0" err="1" smtClean="0">
                <a:solidFill>
                  <a:srgbClr val="FFFFFF"/>
                </a:solidFill>
              </a:rPr>
              <a:t>arr.push</a:t>
            </a:r>
            <a:r>
              <a:rPr lang="en-US" sz="1600" dirty="0" smtClean="0">
                <a:solidFill>
                  <a:srgbClr val="FFFFFF"/>
                </a:solidFill>
              </a:rPr>
              <a:t>(“one”, “two”); // add elements to </a:t>
            </a:r>
            <a:r>
              <a:rPr lang="en-US" sz="1600" dirty="0" err="1" smtClean="0">
                <a:solidFill>
                  <a:srgbClr val="FFFFFF"/>
                </a:solidFill>
              </a:rPr>
              <a:t>arr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376450" y="1045892"/>
            <a:ext cx="4701921" cy="674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= [ ];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 ha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lements: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[0] = “shalom0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[1] = “shalom1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.push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…)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 add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lemen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o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.pop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…)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 remov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as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lement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 map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 a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ith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key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[“key1”] = “value1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[“key2”] = “value2”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81104" y="3147189"/>
            <a:ext cx="4403911" cy="181588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FFFFFF"/>
                </a:solidFill>
              </a:rPr>
              <a:t>// array of objects</a:t>
            </a:r>
          </a:p>
          <a:p>
            <a:r>
              <a:rPr lang="en-US" sz="1600" dirty="0" err="1">
                <a:solidFill>
                  <a:srgbClr val="FFFFFF"/>
                </a:solidFill>
              </a:rPr>
              <a:t>v</a:t>
            </a:r>
            <a:r>
              <a:rPr lang="en-US" sz="1600" dirty="0" err="1" smtClean="0">
                <a:solidFill>
                  <a:srgbClr val="FFFFFF"/>
                </a:solidFill>
              </a:rPr>
              <a:t>ar</a:t>
            </a:r>
            <a:r>
              <a:rPr lang="en-US" sz="1600" dirty="0" smtClean="0">
                <a:solidFill>
                  <a:srgbClr val="FFFFFF"/>
                </a:solidFill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</a:rPr>
              <a:t>arr</a:t>
            </a:r>
            <a:r>
              <a:rPr lang="en-US" sz="1600" dirty="0" smtClean="0">
                <a:solidFill>
                  <a:srgbClr val="FFFFFF"/>
                </a:solidFill>
              </a:rPr>
              <a:t> = [ { name: “Yossi”}, { name: “Dana”} ]</a:t>
            </a:r>
          </a:p>
          <a:p>
            <a:endParaRPr lang="en-US" sz="1600" dirty="0" smtClean="0">
              <a:solidFill>
                <a:srgbClr val="FFFFFF"/>
              </a:solidFill>
              <a:latin typeface="Source Code Pro"/>
            </a:endParaRPr>
          </a:p>
          <a:p>
            <a:r>
              <a:rPr lang="en-US" sz="1600" dirty="0" smtClean="0">
                <a:solidFill>
                  <a:srgbClr val="FFFFFF"/>
                </a:solidFill>
                <a:latin typeface="Source Code Pro"/>
              </a:rPr>
              <a:t>// iterate over array elements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for (</a:t>
            </a:r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</a:rPr>
              <a:t>i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==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0; </a:t>
            </a:r>
            <a:r>
              <a:rPr lang="en-US" sz="1600" dirty="0" err="1" smtClean="0">
                <a:solidFill>
                  <a:srgbClr val="FFFFFF"/>
                </a:solidFill>
              </a:rPr>
              <a:t>i</a:t>
            </a:r>
            <a:r>
              <a:rPr lang="en-US" sz="1600" dirty="0" smtClean="0">
                <a:solidFill>
                  <a:srgbClr val="FFFFFF"/>
                </a:solidFill>
              </a:rPr>
              <a:t> &lt;= </a:t>
            </a:r>
            <a:r>
              <a:rPr lang="en-US" sz="1600" dirty="0" err="1" smtClean="0">
                <a:solidFill>
                  <a:srgbClr val="FFFFFF"/>
                </a:solidFill>
              </a:rPr>
              <a:t>arr.length</a:t>
            </a:r>
            <a:r>
              <a:rPr lang="en-US" sz="1600" dirty="0" smtClean="0">
                <a:solidFill>
                  <a:srgbClr val="FFFFFF"/>
                </a:solidFill>
              </a:rPr>
              <a:t>; </a:t>
            </a:r>
            <a:r>
              <a:rPr lang="en-US" sz="1600" dirty="0" err="1" smtClean="0">
                <a:solidFill>
                  <a:srgbClr val="FFFFFF"/>
                </a:solidFill>
              </a:rPr>
              <a:t>i</a:t>
            </a:r>
            <a:r>
              <a:rPr lang="en-US" sz="1600" dirty="0" smtClean="0">
                <a:solidFill>
                  <a:srgbClr val="FFFFFF"/>
                </a:solidFill>
              </a:rPr>
              <a:t>++) {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  console.log(</a:t>
            </a:r>
            <a:r>
              <a:rPr lang="en-US" sz="1600" dirty="0" err="1" smtClean="0">
                <a:solidFill>
                  <a:srgbClr val="FFFFFF"/>
                </a:solidFill>
              </a:rPr>
              <a:t>arr</a:t>
            </a:r>
            <a:r>
              <a:rPr lang="en-US" sz="1600" dirty="0" smtClean="0">
                <a:solidFill>
                  <a:srgbClr val="FFFFFF"/>
                </a:solidFill>
              </a:rPr>
              <a:t>[</a:t>
            </a:r>
            <a:r>
              <a:rPr lang="en-US" sz="1600" dirty="0" err="1" smtClean="0">
                <a:solidFill>
                  <a:srgbClr val="FFFFFF"/>
                </a:solidFill>
              </a:rPr>
              <a:t>i</a:t>
            </a:r>
            <a:r>
              <a:rPr lang="en-US" sz="1600" smtClean="0">
                <a:solidFill>
                  <a:srgbClr val="FFFFFF"/>
                </a:solidFill>
              </a:rPr>
              <a:t>][“</a:t>
            </a:r>
            <a:r>
              <a:rPr lang="en-US" sz="1600" dirty="0" smtClean="0">
                <a:solidFill>
                  <a:srgbClr val="FFFFFF"/>
                </a:solidFill>
              </a:rPr>
              <a:t>name”]);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}</a:t>
            </a:r>
            <a:endParaRPr lang="en-US" sz="1600" dirty="0" smtClean="0">
              <a:solidFill>
                <a:srgbClr val="FFFFFF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388160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“this”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381104" y="604444"/>
            <a:ext cx="4403911" cy="116955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call a function alone –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this is on global scope</a:t>
            </a: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Function foo(a){</a:t>
            </a:r>
          </a:p>
          <a:p>
            <a:r>
              <a:rPr lang="en-US" sz="1400" dirty="0">
                <a:solidFill>
                  <a:srgbClr val="FFFFFF"/>
                </a:solidFill>
                <a:latin typeface="Source Code Pro"/>
              </a:rPr>
              <a:t>  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var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self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=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this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;</a:t>
            </a:r>
            <a:endParaRPr lang="en-US" sz="1400" dirty="0" smtClean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}</a:t>
            </a:r>
          </a:p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foo(1);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-376450" y="1045892"/>
            <a:ext cx="4701921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global (window in the browser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“this”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epend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w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unctio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lled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et “this” explicitly – function binding: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“apply”,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“call”, “bind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ach framework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andle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is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very functio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turn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lue.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ndefined – if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o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turn.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on’t forget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nside function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81104" y="1882504"/>
            <a:ext cx="4403911" cy="73866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call a function on an object –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this is the object</a:t>
            </a:r>
          </a:p>
          <a:p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 x = { foo: function(a) {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 self = this; } };</a:t>
            </a:r>
          </a:p>
          <a:p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x.foo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(1)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;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380992" y="2729677"/>
            <a:ext cx="4403911" cy="80021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call/apply/bind – set “this” to the calling function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f = function () {return this}; </a:t>
            </a:r>
          </a:p>
          <a:p>
            <a:r>
              <a:rPr lang="en-US" sz="1600" dirty="0" err="1" smtClean="0">
                <a:solidFill>
                  <a:srgbClr val="FFFFFF"/>
                </a:solidFill>
              </a:rPr>
              <a:t>f.call</a:t>
            </a:r>
            <a:r>
              <a:rPr lang="en-US" sz="1600" dirty="0" smtClean="0">
                <a:solidFill>
                  <a:srgbClr val="FFFFFF"/>
                </a:solidFill>
              </a:rPr>
              <a:t> (100)   // result is 100 </a:t>
            </a:r>
            <a:endParaRPr lang="en-US" sz="1600" dirty="0" smtClean="0">
              <a:solidFill>
                <a:srgbClr val="FFFFFF"/>
              </a:solidFill>
              <a:latin typeface="Source Code Pro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380992" y="3666443"/>
            <a:ext cx="4403911" cy="116955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 in function – means local, otherwise global</a:t>
            </a:r>
          </a:p>
          <a:p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fn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 = function(){</a:t>
            </a:r>
          </a:p>
          <a:p>
            <a:r>
              <a:rPr lang="en-US" sz="1400" dirty="0">
                <a:solidFill>
                  <a:srgbClr val="FFFFFF"/>
                </a:solidFill>
                <a:latin typeface="Source Code Pro"/>
              </a:rPr>
              <a:t>  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var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a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=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1;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   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local</a:t>
            </a:r>
          </a:p>
          <a:p>
            <a:r>
              <a:rPr lang="en-US" sz="1400" dirty="0">
                <a:solidFill>
                  <a:srgbClr val="FFFFFF"/>
                </a:solidFill>
                <a:latin typeface="Source Code Pro"/>
              </a:rPr>
              <a:t>  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b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=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2;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         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b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is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globa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l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>
                <a:solidFill>
                  <a:srgbClr val="FFFFFF"/>
                </a:solidFill>
                <a:latin typeface="Source Code Pro"/>
              </a:rPr>
              <a:t>}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1577401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-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exception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381104" y="985448"/>
            <a:ext cx="4403911" cy="178510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throw simple type – no stack trace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try {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    ... 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   </a:t>
            </a:r>
            <a:r>
              <a:rPr lang="en-US" sz="1600" dirty="0" smtClean="0">
                <a:solidFill>
                  <a:srgbClr val="FFFFFF"/>
                </a:solidFill>
              </a:rPr>
              <a:t>throw 3;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} catch (n) {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    // n has no stack trace!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}</a:t>
            </a:r>
            <a:endParaRPr lang="en-US" sz="1600" dirty="0" smtClean="0">
              <a:solidFill>
                <a:srgbClr val="FFFFFF"/>
              </a:solidFill>
              <a:latin typeface="Source Code Pro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376450" y="1045892"/>
            <a:ext cx="4701921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ry {} catch {} is availab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You ca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row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y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ype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is does NOT include stack trac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You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row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rror(…)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is DOES include stack trac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lways better to check for errors so they do not occur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81104" y="3405605"/>
            <a:ext cx="4403911" cy="178510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throw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Error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– with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stack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trace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smtClean="0">
                <a:solidFill>
                  <a:srgbClr val="FFFFFF"/>
                </a:solidFill>
              </a:rPr>
              <a:t>try {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   </a:t>
            </a:r>
            <a:r>
              <a:rPr lang="en-US" sz="1600" dirty="0" smtClean="0">
                <a:solidFill>
                  <a:srgbClr val="FFFFFF"/>
                </a:solidFill>
              </a:rPr>
              <a:t>... 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   </a:t>
            </a:r>
            <a:r>
              <a:rPr lang="en-US" sz="1600" dirty="0" smtClean="0">
                <a:solidFill>
                  <a:srgbClr val="FFFFFF"/>
                </a:solidFill>
              </a:rPr>
              <a:t>throw new </a:t>
            </a:r>
            <a:r>
              <a:rPr lang="en-US" sz="1600" dirty="0" smtClean="0">
                <a:solidFill>
                  <a:srgbClr val="1AB076"/>
                </a:solidFill>
              </a:rPr>
              <a:t>Error</a:t>
            </a:r>
            <a:r>
              <a:rPr lang="en-US" sz="1600" dirty="0" smtClean="0">
                <a:solidFill>
                  <a:srgbClr val="FFFFFF"/>
                </a:solidFill>
              </a:rPr>
              <a:t>(3);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} catch (e) { 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   </a:t>
            </a:r>
            <a:r>
              <a:rPr lang="en-US" sz="1600" dirty="0" smtClean="0">
                <a:solidFill>
                  <a:srgbClr val="FFFFFF"/>
                </a:solidFill>
              </a:rPr>
              <a:t>// e has a stack trace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} </a:t>
            </a:r>
            <a:endParaRPr lang="en-US" sz="1600" dirty="0" smtClean="0">
              <a:solidFill>
                <a:srgbClr val="FFFFFF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2943578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– utility librari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381104" y="985448"/>
            <a:ext cx="4403911" cy="181588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underscore</a:t>
            </a:r>
          </a:p>
          <a:p>
            <a:r>
              <a:rPr lang="en-US" sz="1400" dirty="0">
                <a:solidFill>
                  <a:schemeClr val="bg1"/>
                </a:solidFill>
              </a:rPr>
              <a:t>_.each([1, 2, 3], alert</a:t>
            </a:r>
            <a:r>
              <a:rPr lang="en-US" sz="1400" dirty="0" smtClean="0">
                <a:solidFill>
                  <a:schemeClr val="bg1"/>
                </a:solidFill>
              </a:rPr>
              <a:t>);</a:t>
            </a:r>
          </a:p>
          <a:p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even = _.find([1, 2, 3, 4, 5, 6], function(</a:t>
            </a:r>
            <a:r>
              <a:rPr lang="en-US" sz="1400" dirty="0" err="1">
                <a:solidFill>
                  <a:schemeClr val="bg1"/>
                </a:solidFill>
              </a:rPr>
              <a:t>num</a:t>
            </a:r>
            <a:r>
              <a:rPr lang="en-US" sz="1400" dirty="0">
                <a:solidFill>
                  <a:schemeClr val="bg1"/>
                </a:solidFill>
              </a:rPr>
              <a:t>){ return </a:t>
            </a:r>
            <a:r>
              <a:rPr lang="en-US" sz="1400" dirty="0" err="1">
                <a:solidFill>
                  <a:schemeClr val="bg1"/>
                </a:solidFill>
              </a:rPr>
              <a:t>num</a:t>
            </a:r>
            <a:r>
              <a:rPr lang="en-US" sz="1400" dirty="0">
                <a:solidFill>
                  <a:schemeClr val="bg1"/>
                </a:solidFill>
              </a:rPr>
              <a:t> % 2 == 0; }); </a:t>
            </a:r>
            <a:r>
              <a:rPr lang="en-US" sz="1400" dirty="0" smtClean="0">
                <a:solidFill>
                  <a:schemeClr val="bg1"/>
                </a:solidFill>
              </a:rPr>
              <a:t>  // result is: 2</a:t>
            </a:r>
          </a:p>
          <a:p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odds = _.reject([1, 2, 3, 4, 5, 6], function(</a:t>
            </a:r>
            <a:r>
              <a:rPr lang="en-US" sz="1400" dirty="0" err="1">
                <a:solidFill>
                  <a:schemeClr val="bg1"/>
                </a:solidFill>
              </a:rPr>
              <a:t>num</a:t>
            </a:r>
            <a:r>
              <a:rPr lang="en-US" sz="1400" dirty="0">
                <a:solidFill>
                  <a:schemeClr val="bg1"/>
                </a:solidFill>
              </a:rPr>
              <a:t>){ return </a:t>
            </a:r>
            <a:r>
              <a:rPr lang="en-US" sz="1400" dirty="0" err="1">
                <a:solidFill>
                  <a:schemeClr val="bg1"/>
                </a:solidFill>
              </a:rPr>
              <a:t>num</a:t>
            </a:r>
            <a:r>
              <a:rPr lang="en-US" sz="1400" dirty="0">
                <a:solidFill>
                  <a:schemeClr val="bg1"/>
                </a:solidFill>
              </a:rPr>
              <a:t> % 2 == 0; }); </a:t>
            </a:r>
            <a:r>
              <a:rPr lang="en-US" sz="1400" dirty="0" smtClean="0">
                <a:solidFill>
                  <a:schemeClr val="bg1"/>
                </a:solidFill>
              </a:rPr>
              <a:t> // result is: </a:t>
            </a:r>
            <a:r>
              <a:rPr lang="en-US" sz="1400" dirty="0">
                <a:solidFill>
                  <a:schemeClr val="bg1"/>
                </a:solidFill>
              </a:rPr>
              <a:t>[1, 3, 5]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376450" y="1045892"/>
            <a:ext cx="4701921" cy="674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tility libraries: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oss browser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ptimize Performance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ested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nderscorej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( _ )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lient sid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odash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( _ )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lient side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erver side (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odej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81104" y="3405605"/>
            <a:ext cx="4403911" cy="129266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lodash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err="1">
                <a:solidFill>
                  <a:schemeClr val="bg1"/>
                </a:solidFill>
              </a:rPr>
              <a:t>var</a:t>
            </a:r>
            <a:r>
              <a:rPr lang="en-US" sz="1600" dirty="0">
                <a:solidFill>
                  <a:schemeClr val="bg1"/>
                </a:solidFill>
              </a:rPr>
              <a:t> array </a:t>
            </a:r>
            <a:r>
              <a:rPr lang="en-US" sz="1600" b="1" dirty="0">
                <a:solidFill>
                  <a:schemeClr val="bg1"/>
                </a:solidFill>
              </a:rPr>
              <a:t>=</a:t>
            </a:r>
            <a:r>
              <a:rPr lang="en-US" sz="1600" dirty="0">
                <a:solidFill>
                  <a:schemeClr val="bg1"/>
                </a:solidFill>
              </a:rPr>
              <a:t> [1</a:t>
            </a:r>
            <a:r>
              <a:rPr lang="en-US" sz="1600" b="1" dirty="0">
                <a:solidFill>
                  <a:schemeClr val="bg1"/>
                </a:solidFill>
              </a:rPr>
              <a:t>,</a:t>
            </a:r>
            <a:r>
              <a:rPr lang="en-US" sz="1600" dirty="0">
                <a:solidFill>
                  <a:schemeClr val="bg1"/>
                </a:solidFill>
              </a:rPr>
              <a:t> 2</a:t>
            </a:r>
            <a:r>
              <a:rPr lang="en-US" sz="1600" b="1" dirty="0">
                <a:solidFill>
                  <a:schemeClr val="bg1"/>
                </a:solidFill>
              </a:rPr>
              <a:t>,</a:t>
            </a:r>
            <a:r>
              <a:rPr lang="en-US" sz="1600" dirty="0">
                <a:solidFill>
                  <a:schemeClr val="bg1"/>
                </a:solidFill>
              </a:rPr>
              <a:t> 3]</a:t>
            </a:r>
            <a:r>
              <a:rPr lang="en-US" sz="1600" b="1" dirty="0">
                <a:solidFill>
                  <a:schemeClr val="bg1"/>
                </a:solidFill>
              </a:rPr>
              <a:t>;</a:t>
            </a:r>
            <a:r>
              <a:rPr lang="en-US" sz="1600" dirty="0">
                <a:solidFill>
                  <a:schemeClr val="bg1"/>
                </a:solidFill>
              </a:rPr>
              <a:t/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/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_(array).reverse().value()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// result is: </a:t>
            </a:r>
            <a:r>
              <a:rPr lang="en-US" sz="1600" dirty="0">
                <a:solidFill>
                  <a:schemeClr val="bg1"/>
                </a:solidFill>
              </a:rPr>
              <a:t>[3, 2, 1]</a:t>
            </a:r>
            <a:endParaRPr lang="en-US" sz="1600" dirty="0" smtClean="0">
              <a:solidFill>
                <a:schemeClr val="bg1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1054179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6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yQEOhmo0yoXtBH9v7N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w0Rqd1EWAdsIs.DKG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yNF3XQU6VUsqwt6XQ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huXSXCv02BtSb9WqDa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qa6T31ZkyIpHmPjOWrb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C4FSd1bEGrXPDg7r9l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ng42mWU06kGTlh8o6u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etuqFKRE.t5O59xIr.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V.nAH37Eu2eiPx2JXY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5ygypYv0SY6kBwsRd8aA"/>
</p:tagLst>
</file>

<file path=ppt/theme/theme1.xml><?xml version="1.0" encoding="utf-8"?>
<a:theme xmlns:a="http://schemas.openxmlformats.org/drawingml/2006/main" name="29_Firm Format - English (US)">
  <a:themeElements>
    <a:clrScheme name="29_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29_Firm Format - English (US)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9_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עיצוב מותאם אישית">
  <a:themeElements>
    <a:clrScheme name="1_עיצוב מותאם אישית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עיצוב מותאם אישית">
      <a:majorFont>
        <a:latin typeface="Californian FB"/>
        <a:ea typeface=""/>
        <a:cs typeface="Arial"/>
      </a:majorFont>
      <a:minorFont>
        <a:latin typeface="Californian FB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עיצוב מותאם אישית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irm Format - English (US)">
  <a:themeElements>
    <a:clrScheme name="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Firm Format - English (US)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722</TotalTime>
  <Words>2237</Words>
  <Application>Microsoft Office PowerPoint</Application>
  <PresentationFormat>Custom</PresentationFormat>
  <Paragraphs>542</Paragraphs>
  <Slides>27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7</vt:i4>
      </vt:variant>
    </vt:vector>
  </HeadingPairs>
  <TitlesOfParts>
    <vt:vector size="42" baseType="lpstr">
      <vt:lpstr>MS PGothic</vt:lpstr>
      <vt:lpstr>Arial</vt:lpstr>
      <vt:lpstr>Bariol Regular</vt:lpstr>
      <vt:lpstr>Californian FB</vt:lpstr>
      <vt:lpstr>Georgia</vt:lpstr>
      <vt:lpstr>Open Sans</vt:lpstr>
      <vt:lpstr>Source Code Pro</vt:lpstr>
      <vt:lpstr>Vollkorn</vt:lpstr>
      <vt:lpstr>Wingdings</vt:lpstr>
      <vt:lpstr>29_Firm Format - English (US)</vt:lpstr>
      <vt:lpstr>Custom Design</vt:lpstr>
      <vt:lpstr>1_עיצוב מותאם אישית</vt:lpstr>
      <vt:lpstr>Firm Format - English (US)</vt:lpstr>
      <vt:lpstr>think-cell Slide</vt:lpstr>
      <vt:lpstr>Acrobat 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WApps, 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Training</dc:title>
  <dc:subject>OWApps AngularJS Training</dc:subject>
  <dc:creator>jonathan.wax@owapps.com</dc:creator>
  <cp:lastModifiedBy>Jonathan Wax</cp:lastModifiedBy>
  <cp:revision>642</cp:revision>
  <cp:lastPrinted>2008-09-19T11:06:26Z</cp:lastPrinted>
  <dcterms:created xsi:type="dcterms:W3CDTF">2010-01-27T21:29:29Z</dcterms:created>
  <dcterms:modified xsi:type="dcterms:W3CDTF">2016-06-18T18:21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fals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Title</vt:lpwstr>
  </property>
  <property fmtid="{D5CDD505-2E9C-101B-9397-08002B2CF9AE}" pid="11" name="Event">
    <vt:lpwstr/>
  </property>
  <property fmtid="{D5CDD505-2E9C-101B-9397-08002B2CF9AE}" pid="12" name="Delivery Date">
    <vt:lpwstr/>
  </property>
</Properties>
</file>